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00" r:id="rId5"/>
    <p:sldMasterId id="2147483822" r:id="rId6"/>
  </p:sldMasterIdLst>
  <p:notesMasterIdLst>
    <p:notesMasterId r:id="rId13"/>
  </p:notesMasterIdLst>
  <p:sldIdLst>
    <p:sldId id="2147480677" r:id="rId7"/>
    <p:sldId id="2147480860" r:id="rId8"/>
    <p:sldId id="2147480854" r:id="rId9"/>
    <p:sldId id="2147480859" r:id="rId10"/>
    <p:sldId id="2147480858" r:id="rId11"/>
    <p:sldId id="214748083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наполнение презентации" id="{F0470199-2EFC-42B8-88CE-F44EE7437520}">
          <p14:sldIdLst>
            <p14:sldId id="2147480677"/>
            <p14:sldId id="2147480860"/>
            <p14:sldId id="2147480854"/>
            <p14:sldId id="2147480859"/>
            <p14:sldId id="2147480858"/>
            <p14:sldId id="21474808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10" userDrawn="1">
          <p15:clr>
            <a:srgbClr val="A4A3A4"/>
          </p15:clr>
        </p15:guide>
        <p15:guide id="2" pos="4498" userDrawn="1">
          <p15:clr>
            <a:srgbClr val="A4A3A4"/>
          </p15:clr>
        </p15:guide>
        <p15:guide id="3" pos="4793" userDrawn="1">
          <p15:clr>
            <a:srgbClr val="A4A3A4"/>
          </p15:clr>
        </p15:guide>
        <p15:guide id="4" pos="4815" userDrawn="1">
          <p15:clr>
            <a:srgbClr val="A4A3A4"/>
          </p15:clr>
        </p15:guide>
        <p15:guide id="5" pos="5133" userDrawn="1">
          <p15:clr>
            <a:srgbClr val="A4A3A4"/>
          </p15:clr>
        </p15:guide>
        <p15:guide id="6" orient="horz" pos="86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C76A6"/>
    <a:srgbClr val="FF3399"/>
    <a:srgbClr val="D857AF"/>
    <a:srgbClr val="ECABCD"/>
    <a:srgbClr val="E8B5CE"/>
    <a:srgbClr val="E9B7CC"/>
    <a:srgbClr val="C3DFDA"/>
    <a:srgbClr val="FCE0E9"/>
    <a:srgbClr val="E238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53" autoAdjust="0"/>
    <p:restoredTop sz="96713" autoAdjust="0"/>
  </p:normalViewPr>
  <p:slideViewPr>
    <p:cSldViewPr snapToGrid="0">
      <p:cViewPr varScale="1">
        <p:scale>
          <a:sx n="124" d="100"/>
          <a:sy n="124" d="100"/>
        </p:scale>
        <p:origin x="192" y="96"/>
      </p:cViewPr>
      <p:guideLst>
        <p:guide orient="horz" pos="4110"/>
        <p:guide pos="4498"/>
        <p:guide pos="4793"/>
        <p:guide pos="4815"/>
        <p:guide pos="5133"/>
        <p:guide orient="horz" pos="86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8" d="100"/>
        <a:sy n="88" d="100"/>
      </p:scale>
      <p:origin x="0" y="-3867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CF764E-9B4E-4392-847C-39E3362DD638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1BEC1-9A76-4B85-87AB-2F658B0B7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321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suno.com/playlist/72df20d0-d30d-4e83-8638-17a274864638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  <a:p>
            <a:endParaRPr lang="ru-RU" dirty="0"/>
          </a:p>
          <a:p>
            <a:r>
              <a:rPr lang="en-US" dirty="0">
                <a:hlinkClick r:id="rId3"/>
              </a:rPr>
              <a:t>https://suno.com/playlist/72df20d0-d30d-4e83-8638-17a274864638</a:t>
            </a:r>
            <a:endParaRPr lang="ru-R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F1BEC1-9A76-4B85-87AB-2F658B0B72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538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F1BEC1-9A76-4B85-87AB-2F658B0B72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891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F1BEC1-9A76-4B85-87AB-2F658B0B72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2503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F1BEC1-9A76-4B85-87AB-2F658B0B721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124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5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6" Type="http://schemas.openxmlformats.org/officeDocument/2006/relationships/image" Target="../media/image71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71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7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71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jpeg"/><Relationship Id="rId3" Type="http://schemas.openxmlformats.org/officeDocument/2006/relationships/image" Target="../media/image21.emf"/><Relationship Id="rId7" Type="http://schemas.openxmlformats.org/officeDocument/2006/relationships/image" Target="../media/image25.jpeg"/><Relationship Id="rId12" Type="http://schemas.openxmlformats.org/officeDocument/2006/relationships/image" Target="../media/image29.jpeg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5" Type="http://schemas.openxmlformats.org/officeDocument/2006/relationships/image" Target="../media/image23.jpeg"/><Relationship Id="rId10" Type="http://schemas.openxmlformats.org/officeDocument/2006/relationships/image" Target="../media/image19.jpeg"/><Relationship Id="rId4" Type="http://schemas.openxmlformats.org/officeDocument/2006/relationships/image" Target="../media/image22.emf"/><Relationship Id="rId9" Type="http://schemas.openxmlformats.org/officeDocument/2006/relationships/image" Target="../media/image27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jpe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9.png"/><Relationship Id="rId7" Type="http://schemas.openxmlformats.org/officeDocument/2006/relationships/image" Target="../media/image50.jpeg"/><Relationship Id="rId12" Type="http://schemas.openxmlformats.org/officeDocument/2006/relationships/image" Target="../media/image55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emf"/><Relationship Id="rId11" Type="http://schemas.openxmlformats.org/officeDocument/2006/relationships/image" Target="../media/image54.png"/><Relationship Id="rId5" Type="http://schemas.openxmlformats.org/officeDocument/2006/relationships/image" Target="../media/image21.emf"/><Relationship Id="rId10" Type="http://schemas.openxmlformats.org/officeDocument/2006/relationships/image" Target="../media/image53.png"/><Relationship Id="rId4" Type="http://schemas.openxmlformats.org/officeDocument/2006/relationships/image" Target="../media/image20.emf"/><Relationship Id="rId9" Type="http://schemas.openxmlformats.org/officeDocument/2006/relationships/image" Target="../media/image52.jpe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EA9CEDCD-D8F1-4740-9AE5-647C38336C8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942D03-C917-4DFA-A524-21BD17A4938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4074848-69B4-460A-9230-F08FABD2F2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EFD75C8-8B77-453B-8FD3-A2AF59C0C1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434570"/>
            <a:ext cx="8338932" cy="2246400"/>
          </a:xfrm>
          <a:custGeom>
            <a:avLst/>
            <a:gdLst>
              <a:gd name="connsiteX0" fmla="*/ 0 w 8338932"/>
              <a:gd name="connsiteY0" fmla="*/ 0 h 2246400"/>
              <a:gd name="connsiteX1" fmla="*/ 215069 w 8338932"/>
              <a:gd name="connsiteY1" fmla="*/ 0 h 2246400"/>
              <a:gd name="connsiteX2" fmla="*/ 7084463 w 8338932"/>
              <a:gd name="connsiteY2" fmla="*/ 0 h 2246400"/>
              <a:gd name="connsiteX3" fmla="*/ 7947753 w 8338932"/>
              <a:gd name="connsiteY3" fmla="*/ 383532 h 2246400"/>
              <a:gd name="connsiteX4" fmla="*/ 8109620 w 8338932"/>
              <a:gd name="connsiteY4" fmla="*/ 547903 h 2246400"/>
              <a:gd name="connsiteX5" fmla="*/ 8338932 w 8338932"/>
              <a:gd name="connsiteY5" fmla="*/ 1123200 h 2246400"/>
              <a:gd name="connsiteX6" fmla="*/ 8109620 w 8338932"/>
              <a:gd name="connsiteY6" fmla="*/ 1712195 h 2246400"/>
              <a:gd name="connsiteX7" fmla="*/ 7947753 w 8338932"/>
              <a:gd name="connsiteY7" fmla="*/ 1876566 h 2246400"/>
              <a:gd name="connsiteX8" fmla="*/ 7084463 w 8338932"/>
              <a:gd name="connsiteY8" fmla="*/ 2246400 h 2246400"/>
              <a:gd name="connsiteX9" fmla="*/ 0 w 8338932"/>
              <a:gd name="connsiteY9" fmla="*/ 2246400 h 22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38932" h="2246400">
                <a:moveTo>
                  <a:pt x="0" y="0"/>
                </a:moveTo>
                <a:lnTo>
                  <a:pt x="215069" y="0"/>
                </a:lnTo>
                <a:cubicBezTo>
                  <a:pt x="7084463" y="0"/>
                  <a:pt x="7084463" y="0"/>
                  <a:pt x="7084463" y="0"/>
                </a:cubicBezTo>
                <a:cubicBezTo>
                  <a:pt x="7408197" y="0"/>
                  <a:pt x="7704953" y="136976"/>
                  <a:pt x="7947753" y="383532"/>
                </a:cubicBezTo>
                <a:cubicBezTo>
                  <a:pt x="8109620" y="547903"/>
                  <a:pt x="8109620" y="547903"/>
                  <a:pt x="8109620" y="547903"/>
                </a:cubicBezTo>
                <a:cubicBezTo>
                  <a:pt x="8257998" y="698576"/>
                  <a:pt x="8338932" y="904039"/>
                  <a:pt x="8338932" y="1123200"/>
                </a:cubicBezTo>
                <a:cubicBezTo>
                  <a:pt x="8338932" y="1356059"/>
                  <a:pt x="8257998" y="1561522"/>
                  <a:pt x="8109620" y="1712195"/>
                </a:cubicBezTo>
                <a:cubicBezTo>
                  <a:pt x="7947753" y="1876566"/>
                  <a:pt x="7947753" y="1876566"/>
                  <a:pt x="7947753" y="1876566"/>
                </a:cubicBezTo>
                <a:cubicBezTo>
                  <a:pt x="7704953" y="2123122"/>
                  <a:pt x="7408197" y="2246400"/>
                  <a:pt x="7084463" y="2246400"/>
                </a:cubicBezTo>
                <a:lnTo>
                  <a:pt x="0" y="2246400"/>
                </a:lnTo>
                <a:close/>
              </a:path>
            </a:pathLst>
          </a:custGeom>
          <a:solidFill>
            <a:schemeClr val="accent2">
              <a:alpha val="69000"/>
            </a:schemeClr>
          </a:solidFill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</p:spPr>
        <p:txBody>
          <a:bodyPr wrap="square" lIns="1004400" rIns="576000" anchor="ctr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</a:t>
            </a:r>
            <a:br>
              <a:rPr lang="en-US"/>
            </a:br>
            <a:r>
              <a:rPr lang="en-US"/>
              <a:t>Tit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399" y="5718686"/>
            <a:ext cx="6418385" cy="531891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7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A">
    <p:bg>
      <p:bgPr>
        <a:gradFill>
          <a:gsLst>
            <a:gs pos="0">
              <a:schemeClr val="accent5">
                <a:lumMod val="60000"/>
                <a:lumOff val="40000"/>
              </a:schemeClr>
            </a:gs>
            <a:gs pos="100000">
              <a:schemeClr val="accent6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4032" y="1708485"/>
            <a:ext cx="10643936" cy="3441032"/>
          </a:xfrm>
          <a:effectLst/>
        </p:spPr>
        <p:txBody>
          <a:bodyPr anchor="ctr">
            <a:noAutofit/>
          </a:bodyPr>
          <a:lstStyle>
            <a:lvl1pPr algn="ctr">
              <a:defRPr sz="6000" b="1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CE9D78-4C16-481D-9342-BD1D06FB6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DC6420-86C3-40E4-9EB2-851799314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015FA0-A89E-4B93-9FEB-402359A14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65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Отбивка_си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303C043-6660-E02D-33E4-879EE29715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D4FA406-02F5-27B6-6C8A-AD25B589E5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12" name="Текст 106">
            <a:extLst>
              <a:ext uri="{FF2B5EF4-FFF2-40B4-BE49-F238E27FC236}">
                <a16:creationId xmlns:a16="http://schemas.microsoft.com/office/drawing/2014/main" id="{AD2A712E-3292-631A-B8E3-CDF97A531B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1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3DA2B6D-6BA8-CB5E-6F53-4D6D04EA2E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19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Отбивка c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>
            <a:extLst>
              <a:ext uri="{FF2B5EF4-FFF2-40B4-BE49-F238E27FC236}">
                <a16:creationId xmlns:a16="http://schemas.microsoft.com/office/drawing/2014/main" id="{957D9A9B-76D3-B684-639B-E70B74DFB1F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9B3E85-6CDE-12D1-1DBB-6534B95FF6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4" name="Текст 106">
            <a:extLst>
              <a:ext uri="{FF2B5EF4-FFF2-40B4-BE49-F238E27FC236}">
                <a16:creationId xmlns:a16="http://schemas.microsoft.com/office/drawing/2014/main" id="{5C4660D0-8793-DAE9-8EB4-D32321C257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3DA2B6D-6BA8-CB5E-6F53-4D6D04EA2E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3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ро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E89F580-0190-C8BD-2A81-C63627B90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" t="317" b="632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Рисунок 9">
            <a:extLst>
              <a:ext uri="{FF2B5EF4-FFF2-40B4-BE49-F238E27FC236}">
                <a16:creationId xmlns:a16="http://schemas.microsoft.com/office/drawing/2014/main" id="{58918D28-6ED9-9606-8CCC-0166BA645F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Заголовок 7">
            <a:extLst>
              <a:ext uri="{FF2B5EF4-FFF2-40B4-BE49-F238E27FC236}">
                <a16:creationId xmlns:a16="http://schemas.microsoft.com/office/drawing/2014/main" id="{9962E952-4A06-7DCD-3167-E0395B022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Platshållare för text 7">
            <a:extLst>
              <a:ext uri="{FF2B5EF4-FFF2-40B4-BE49-F238E27FC236}">
                <a16:creationId xmlns:a16="http://schemas.microsoft.com/office/drawing/2014/main" id="{CD793957-6CD1-707A-EAAA-864DCC2D6C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Текст 5">
            <a:extLst>
              <a:ext uri="{FF2B5EF4-FFF2-40B4-BE49-F238E27FC236}">
                <a16:creationId xmlns:a16="http://schemas.microsoft.com/office/drawing/2014/main" id="{4409D4AA-EC13-66E2-9009-CA3CE43574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041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голуб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97EF53-7A92-B201-9D1A-BDFE592DA6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83C0C77-346A-653A-B432-94E6E5D4CE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81000"/>
                </a:srgbClr>
              </a:gs>
              <a:gs pos="100000">
                <a:srgbClr val="6194CE">
                  <a:alpha val="68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DB242638-9637-9AD2-526A-CC1538D7C2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6" name="Заголовок 7">
            <a:extLst>
              <a:ext uri="{FF2B5EF4-FFF2-40B4-BE49-F238E27FC236}">
                <a16:creationId xmlns:a16="http://schemas.microsoft.com/office/drawing/2014/main" id="{3067DA27-39C5-8E3F-66DA-D702A5CA4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57A14A2D-9F1E-191F-808A-49D1402BC9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Текст 5">
            <a:extLst>
              <a:ext uri="{FF2B5EF4-FFF2-40B4-BE49-F238E27FC236}">
                <a16:creationId xmlns:a16="http://schemas.microsoft.com/office/drawing/2014/main" id="{72BC4D4D-6772-5373-F973-7350E841D1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6123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бирю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176FDA0-2A75-A8F4-24D0-07E2527BC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" t="317" r="21" b="638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EB29149-9F61-5DF3-B6A9-86BF7B83F1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29000"/>
                </a:srgbClr>
              </a:gs>
              <a:gs pos="100000">
                <a:srgbClr val="6194CE">
                  <a:alpha val="6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4F7D7AB6-B81B-2AF1-4C82-6D050C6CAA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7" name="Заголовок 7">
            <a:extLst>
              <a:ext uri="{FF2B5EF4-FFF2-40B4-BE49-F238E27FC236}">
                <a16:creationId xmlns:a16="http://schemas.microsoft.com/office/drawing/2014/main" id="{870FB860-1FED-015F-710F-C8EA1ECD3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1BADD4A0-878F-33FA-8C66-5D1520B6F6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Текст 5">
            <a:extLst>
              <a:ext uri="{FF2B5EF4-FFF2-40B4-BE49-F238E27FC236}">
                <a16:creationId xmlns:a16="http://schemas.microsoft.com/office/drawing/2014/main" id="{7F0A865D-A35F-AB31-D342-AA60E4FCD2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288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си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303C043-6660-E02D-33E4-879EE29715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7">
            <a:extLst>
              <a:ext uri="{FF2B5EF4-FFF2-40B4-BE49-F238E27FC236}">
                <a16:creationId xmlns:a16="http://schemas.microsoft.com/office/drawing/2014/main" id="{29CEB9D4-BCDA-F004-8255-A8F83E1B4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0EEFAC87-98C4-14B5-22A0-2E51FACEA7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5E6879AD-5DA6-B630-880C-EF610DD3DD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F9C9B84E-2EA5-158B-352A-6CEE66E1B1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350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артинка (подиум)+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5">
            <a:extLst>
              <a:ext uri="{FF2B5EF4-FFF2-40B4-BE49-F238E27FC236}">
                <a16:creationId xmlns:a16="http://schemas.microsoft.com/office/drawing/2014/main" id="{6333D3F3-D0CD-20B3-40B9-367F9E44F67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C20B143-BB26-332B-6184-22336AA85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28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+ромби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8808418-C30B-AA64-C36E-70794B451D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 b="437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97D65CD2-636B-7226-5D65-F1DCFCC94FB5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7046414" y="1170330"/>
            <a:ext cx="2810045" cy="2810043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2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US" sz="1400" b="1" smtClean="0">
                <a:solidFill>
                  <a:schemeClr val="bg2"/>
                </a:solidFill>
                <a:latin typeface="+mn-lt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ru-RU" dirty="0"/>
              <a:t>текст</a:t>
            </a:r>
            <a:endParaRPr lang="en-GB" dirty="0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AE12F37D-9BFA-258B-119C-12A0BDC5C3A0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9296675" y="2575351"/>
            <a:ext cx="2515864" cy="2515862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5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GB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marL="0" lvl="0" indent="0" algn="ctr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</a:pPr>
            <a:r>
              <a:rPr lang="ru-RU" dirty="0"/>
              <a:t>текст</a:t>
            </a:r>
            <a:endParaRPr lang="en-GB" dirty="0"/>
          </a:p>
        </p:txBody>
      </p:sp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9E960FAB-8316-4FA9-9DF0-CE5D5899AA88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8038743" y="4268128"/>
            <a:ext cx="2249262" cy="224926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bg2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GB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marL="0" lvl="0" indent="0" algn="ctr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</a:pPr>
            <a:r>
              <a:rPr lang="ru-RU" dirty="0"/>
              <a:t>текст</a:t>
            </a:r>
            <a:endParaRPr lang="en-GB" dirty="0"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3B47B67D-A166-5FF0-BF60-20D6F9FC1876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>
            <a:off x="5788482" y="3195635"/>
            <a:ext cx="2515864" cy="2515862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4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GB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marL="0" lvl="0" indent="0" algn="ctr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</a:pPr>
            <a:r>
              <a:rPr lang="ru-RU" dirty="0"/>
              <a:t>текст</a:t>
            </a:r>
            <a:endParaRPr lang="en-GB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D7CD07F-8C02-A35C-FFE2-F4AA201C3B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  <p:sp>
        <p:nvSpPr>
          <p:cNvPr id="15" name="Текст 5">
            <a:extLst>
              <a:ext uri="{FF2B5EF4-FFF2-40B4-BE49-F238E27FC236}">
                <a16:creationId xmlns:a16="http://schemas.microsoft.com/office/drawing/2014/main" id="{47167B72-863C-A44F-AB80-CCD4D16049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568450"/>
            <a:ext cx="5186917" cy="4648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7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16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+таблица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7FE2817-A0D5-79D7-932F-7C79E7219F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56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5148255-6C23-526B-A9AF-B67E2B5FDE4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CF0079">
                  <a:alpha val="30000"/>
                </a:srgbClr>
              </a:gs>
              <a:gs pos="54700">
                <a:srgbClr val="741569">
                  <a:alpha val="0"/>
                </a:srgbClr>
              </a:gs>
              <a:gs pos="100000">
                <a:srgbClr val="29265B">
                  <a:alpha val="4600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E59F66-FD31-C122-2954-3B7259BFCB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  <p:sp>
        <p:nvSpPr>
          <p:cNvPr id="5" name="Диаграмма 17">
            <a:extLst>
              <a:ext uri="{FF2B5EF4-FFF2-40B4-BE49-F238E27FC236}">
                <a16:creationId xmlns:a16="http://schemas.microsoft.com/office/drawing/2014/main" id="{68E3B388-E624-3031-5010-E0F9310857BB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669118" y="2071625"/>
            <a:ext cx="5579281" cy="4155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6" name="Таблица 22">
            <a:extLst>
              <a:ext uri="{FF2B5EF4-FFF2-40B4-BE49-F238E27FC236}">
                <a16:creationId xmlns:a16="http://schemas.microsoft.com/office/drawing/2014/main" id="{DA76AD5A-7DC5-32A4-73BC-C63D22CE3F6A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6680200" y="2071688"/>
            <a:ext cx="4861732" cy="21062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AU" dirty="0" err="1"/>
              <a:t>т</a:t>
            </a:r>
            <a:r>
              <a:rPr lang="ru-RU" dirty="0" err="1"/>
              <a:t>аблица</a:t>
            </a:r>
            <a:endParaRPr lang="ru-RU" dirty="0"/>
          </a:p>
        </p:txBody>
      </p:sp>
      <p:sp>
        <p:nvSpPr>
          <p:cNvPr id="7" name="Текст 24">
            <a:extLst>
              <a:ext uri="{FF2B5EF4-FFF2-40B4-BE49-F238E27FC236}">
                <a16:creationId xmlns:a16="http://schemas.microsoft.com/office/drawing/2014/main" id="{F74FBE1C-650D-1503-85BC-A81C2253C6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85035" y="4495792"/>
            <a:ext cx="4865615" cy="173168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текст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136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483455C-E5F3-ECF1-0162-90C645645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4"/>
          <a:stretch/>
        </p:blipFill>
        <p:spPr>
          <a:xfrm flipH="1">
            <a:off x="1" y="-1"/>
            <a:ext cx="12191999" cy="6858001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5148255-6C23-526B-A9AF-B67E2B5FDE46}"/>
              </a:ext>
            </a:extLst>
          </p:cNvPr>
          <p:cNvSpPr/>
          <p:nvPr userDrawn="1"/>
        </p:nvSpPr>
        <p:spPr>
          <a:xfrm>
            <a:off x="0" y="-1"/>
            <a:ext cx="12192000" cy="6858000"/>
          </a:xfrm>
          <a:prstGeom prst="rect">
            <a:avLst/>
          </a:prstGeom>
          <a:gradFill>
            <a:gsLst>
              <a:gs pos="0">
                <a:srgbClr val="CF0079">
                  <a:alpha val="30000"/>
                </a:srgbClr>
              </a:gs>
              <a:gs pos="54700">
                <a:srgbClr val="741569">
                  <a:alpha val="0"/>
                </a:srgbClr>
              </a:gs>
              <a:gs pos="100000">
                <a:srgbClr val="29265B">
                  <a:alpha val="4600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E59F66-FD31-C122-2954-3B7259BFCB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  <p:sp>
        <p:nvSpPr>
          <p:cNvPr id="11" name="Таблица 16">
            <a:extLst>
              <a:ext uri="{FF2B5EF4-FFF2-40B4-BE49-F238E27FC236}">
                <a16:creationId xmlns:a16="http://schemas.microsoft.com/office/drawing/2014/main" id="{CF4E50FD-143F-BF56-10F7-8243587513F7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860677" y="2071625"/>
            <a:ext cx="9689973" cy="41558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975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">
    <p:bg>
      <p:bgPr>
        <a:gradFill>
          <a:gsLst>
            <a:gs pos="100000">
              <a:schemeClr val="accent1">
                <a:lumMod val="0"/>
              </a:schemeClr>
            </a:gs>
            <a:gs pos="33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4C202964-1448-4DEC-A57B-77B350F82EBD}"/>
              </a:ext>
            </a:extLst>
          </p:cNvPr>
          <p:cNvSpPr/>
          <p:nvPr/>
        </p:nvSpPr>
        <p:spPr>
          <a:xfrm>
            <a:off x="10803118" y="6356351"/>
            <a:ext cx="1216057" cy="50164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4032" y="1708485"/>
            <a:ext cx="10643936" cy="3441032"/>
          </a:xfrm>
          <a:effectLst/>
        </p:spPr>
        <p:txBody>
          <a:bodyPr anchor="ctr">
            <a:noAutofit/>
          </a:bodyPr>
          <a:lstStyle>
            <a:lvl1pPr algn="ctr">
              <a:defRPr sz="6000" b="1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CE9D78-4C16-481D-9342-BD1D06FB6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DC6420-86C3-40E4-9EB2-851799314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015FA0-A89E-4B93-9FEB-402359A14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5B7FFD9-6B4C-4A1D-A552-599BBEC49C4C}"/>
              </a:ext>
            </a:extLst>
          </p:cNvPr>
          <p:cNvSpPr txBox="1">
            <a:spLocks/>
          </p:cNvSpPr>
          <p:nvPr/>
        </p:nvSpPr>
        <p:spPr>
          <a:xfrm>
            <a:off x="11007437" y="6479182"/>
            <a:ext cx="849600" cy="216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2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82875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1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33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812A368-326A-90B8-E254-7715626D39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8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E59F66-FD31-C122-2954-3B7259BFCB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93DA31AA-21D7-1E5E-6A41-CF39A9C85D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4731" y="2417553"/>
            <a:ext cx="2513617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4D67DF10-B2C9-8C60-F7E4-A19C69B49C3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33898" y="2417553"/>
            <a:ext cx="2519360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12A41611-B82B-5818-8CF6-E9CB5C5691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8808" y="2417553"/>
            <a:ext cx="2519360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A1CFD1C8-A8E2-2EFB-59E0-D31A3365F2E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23718" y="2417553"/>
            <a:ext cx="2519360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19733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Любовь к себ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2D6DEFC-1C77-A9CE-7313-F9323EF56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4861461" y="1991428"/>
            <a:ext cx="2469078" cy="1362789"/>
          </a:xfrm>
          <a:prstGeom prst="rect">
            <a:avLst/>
          </a:prstGeom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06139DEE-390F-9063-0927-99946BBB9A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57451" y="4357688"/>
            <a:ext cx="7275512" cy="811129"/>
          </a:xfrm>
          <a:prstGeom prst="rect">
            <a:avLst/>
          </a:prstGeom>
        </p:spPr>
        <p:txBody>
          <a:bodyPr lIns="90000" tIns="46800" rIns="90000" bIns="46800" anchor="t" anchorCtr="0">
            <a:noAutofit/>
          </a:bodyPr>
          <a:lstStyle>
            <a:lvl1pPr marL="0" algn="ctr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3" name="Текст 106">
            <a:extLst>
              <a:ext uri="{FF2B5EF4-FFF2-40B4-BE49-F238E27FC236}">
                <a16:creationId xmlns:a16="http://schemas.microsoft.com/office/drawing/2014/main" id="{C8FD5BD2-DED3-2764-E4EA-7D4B1931A1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7451" y="3443514"/>
            <a:ext cx="7275512" cy="10690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6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73622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месте мы сможем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>
            <a:extLst>
              <a:ext uri="{FF2B5EF4-FFF2-40B4-BE49-F238E27FC236}">
                <a16:creationId xmlns:a16="http://schemas.microsoft.com/office/drawing/2014/main" id="{03E65E07-BBB1-A7D1-8F41-C0A84B05B11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37A5E34-020B-6B2C-7ADD-91D7AB97BC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2" y="5944850"/>
            <a:ext cx="11522075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ctr" defTabSz="914400" rtl="0" eaLnBrk="1" latinLnBrk="0" hangingPunct="1">
              <a:lnSpc>
                <a:spcPct val="100000"/>
              </a:lnSpc>
              <a:defRPr lang="ru-RU" sz="48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ВМЕСТЕ МЫ СМОЖЕМ!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C5901ED-7BFE-0250-19D9-71CF25E4DB4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5447700" y="281939"/>
            <a:ext cx="1296599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947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Четыре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812A368-326A-90B8-E254-7715626D39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8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93DA31AA-21D7-1E5E-6A41-CF39A9C85D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4963" y="2417553"/>
            <a:ext cx="214899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4D67DF10-B2C9-8C60-F7E4-A19C69B49C3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73324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12A41611-B82B-5818-8CF6-E9CB5C5691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016595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A1CFD1C8-A8E2-2EFB-59E0-D31A3365F2E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359866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5B3E5079-9246-B743-CD60-606787774A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703137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68725BF-918C-3DEC-D729-C3E8945D8E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80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2" grpId="0" animBg="1"/>
    </p:bld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>
            <a:extLst>
              <a:ext uri="{FF2B5EF4-FFF2-40B4-BE49-F238E27FC236}">
                <a16:creationId xmlns:a16="http://schemas.microsoft.com/office/drawing/2014/main" id="{03E65E07-BBB1-A7D1-8F41-C0A84B05B11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32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картинка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>
            <a:extLst>
              <a:ext uri="{FF2B5EF4-FFF2-40B4-BE49-F238E27FC236}">
                <a16:creationId xmlns:a16="http://schemas.microsoft.com/office/drawing/2014/main" id="{A83A4E30-5FC2-ED4F-E800-732D3B45BCE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035B1A50-4CDD-23E9-348C-C85E55F96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3006" y="2493875"/>
            <a:ext cx="9144000" cy="1743989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48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КОРОТКИЙ ЗАГОЛОВОК ПРЕЗЕНТАЦИИ</a:t>
            </a:r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7BC23214-7E40-A86C-F33A-ADF2D186B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106" y="4042313"/>
            <a:ext cx="9144000" cy="630749"/>
          </a:xfrm>
          <a:prstGeom prst="rect">
            <a:avLst/>
          </a:prstGeom>
        </p:spPr>
        <p:txBody>
          <a:bodyPr lIns="0" anchor="t" anchorCtr="0">
            <a:normAutofit/>
          </a:bodyPr>
          <a:lstStyle>
            <a:lvl1pPr marL="0" indent="0" algn="l" defTabSz="914400" rtl="0" eaLnBrk="1" latinLnBrk="0" hangingPunct="1">
              <a:buNone/>
              <a:defRPr lang="ru-RU" sz="24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/вводная/дата/</a:t>
            </a:r>
            <a:r>
              <a:rPr lang="ru-RU" dirty="0" err="1"/>
              <a:t>фио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2180BD9-E2A8-6658-3079-7644BCFCA8E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5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_картинка+ромб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>
            <a:extLst>
              <a:ext uri="{FF2B5EF4-FFF2-40B4-BE49-F238E27FC236}">
                <a16:creationId xmlns:a16="http://schemas.microsoft.com/office/drawing/2014/main" id="{70CF3FFE-9719-5AE9-97A2-FC1CCAA4AC2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4EFD17FF-4313-FFD0-1F34-41259D86804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1662" y="1350466"/>
            <a:ext cx="4518923" cy="4518923"/>
          </a:xfrm>
          <a:custGeom>
            <a:avLst/>
            <a:gdLst>
              <a:gd name="connsiteX0" fmla="*/ 2230495 w 4518923"/>
              <a:gd name="connsiteY0" fmla="*/ 49 h 4518923"/>
              <a:gd name="connsiteX1" fmla="*/ 2650032 w 4518923"/>
              <a:gd name="connsiteY1" fmla="*/ 167558 h 4518923"/>
              <a:gd name="connsiteX2" fmla="*/ 4340664 w 4518923"/>
              <a:gd name="connsiteY2" fmla="*/ 1815390 h 4518923"/>
              <a:gd name="connsiteX3" fmla="*/ 4351365 w 4518923"/>
              <a:gd name="connsiteY3" fmla="*/ 2650032 h 4518923"/>
              <a:gd name="connsiteX4" fmla="*/ 2703533 w 4518923"/>
              <a:gd name="connsiteY4" fmla="*/ 4340664 h 4518923"/>
              <a:gd name="connsiteX5" fmla="*/ 1868892 w 4518923"/>
              <a:gd name="connsiteY5" fmla="*/ 4351365 h 4518923"/>
              <a:gd name="connsiteX6" fmla="*/ 178259 w 4518923"/>
              <a:gd name="connsiteY6" fmla="*/ 2703533 h 4518923"/>
              <a:gd name="connsiteX7" fmla="*/ 167558 w 4518923"/>
              <a:gd name="connsiteY7" fmla="*/ 1868892 h 4518923"/>
              <a:gd name="connsiteX8" fmla="*/ 1815390 w 4518923"/>
              <a:gd name="connsiteY8" fmla="*/ 178259 h 4518923"/>
              <a:gd name="connsiteX9" fmla="*/ 2230495 w 4518923"/>
              <a:gd name="connsiteY9" fmla="*/ 49 h 451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923" h="4518923">
                <a:moveTo>
                  <a:pt x="2230495" y="49"/>
                </a:moveTo>
                <a:cubicBezTo>
                  <a:pt x="2381535" y="-1887"/>
                  <a:pt x="2533315" y="53796"/>
                  <a:pt x="2650032" y="167558"/>
                </a:cubicBezTo>
                <a:lnTo>
                  <a:pt x="4340664" y="1815390"/>
                </a:lnTo>
                <a:cubicBezTo>
                  <a:pt x="4574099" y="2042915"/>
                  <a:pt x="4578890" y="2416597"/>
                  <a:pt x="4351365" y="2650032"/>
                </a:cubicBezTo>
                <a:lnTo>
                  <a:pt x="2703533" y="4340664"/>
                </a:lnTo>
                <a:cubicBezTo>
                  <a:pt x="2476008" y="4574099"/>
                  <a:pt x="2102326" y="4578890"/>
                  <a:pt x="1868892" y="4351365"/>
                </a:cubicBezTo>
                <a:lnTo>
                  <a:pt x="178259" y="2703533"/>
                </a:lnTo>
                <a:cubicBezTo>
                  <a:pt x="-55175" y="2476008"/>
                  <a:pt x="-59966" y="2102326"/>
                  <a:pt x="167558" y="1868892"/>
                </a:cubicBezTo>
                <a:lnTo>
                  <a:pt x="1815390" y="178259"/>
                </a:lnTo>
                <a:cubicBezTo>
                  <a:pt x="1929153" y="61542"/>
                  <a:pt x="2079455" y="1985"/>
                  <a:pt x="2230495" y="4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32000" tIns="720000" rIns="432000" bIns="720000" rtlCol="0" anchor="t">
            <a:noAutofit/>
          </a:bodyPr>
          <a:lstStyle>
            <a:lvl1pPr marL="0" algn="ctr">
              <a:defRPr lang="en-US" sz="1800" b="1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defRPr>
            </a:lvl1pPr>
            <a:lvl2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2pPr>
            <a:lvl3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3pPr>
            <a:lvl4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4pPr>
            <a:lvl5pPr marL="0" algn="ctr">
              <a:defRPr lang="en-GB" sz="1400">
                <a:solidFill>
                  <a:schemeClr val="accent1"/>
                </a:solidFill>
                <a:latin typeface="+mn-lt"/>
              </a:defRPr>
            </a:lvl5pPr>
          </a:lstStyle>
          <a:p>
            <a:pPr marL="0" lvl="0" indent="0" algn="ctr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endParaRPr lang="ru-RU" dirty="0"/>
          </a:p>
          <a:p>
            <a:pPr marL="0" lvl="0" indent="0" algn="ctr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endParaRPr lang="ru-RU" dirty="0"/>
          </a:p>
          <a:p>
            <a:pPr marL="0" lvl="0" indent="0" algn="ctr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2E09DF1-D7A9-8392-9C94-C60331AD6D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36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Отбивка_ро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E89F580-0190-C8BD-2A81-C63627B90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" t="317" b="632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AB8513-2599-36E2-6115-182494196E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4" name="Текст 106">
            <a:extLst>
              <a:ext uri="{FF2B5EF4-FFF2-40B4-BE49-F238E27FC236}">
                <a16:creationId xmlns:a16="http://schemas.microsoft.com/office/drawing/2014/main" id="{6C266EC0-92A7-9244-69E1-A0C1DF560C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E58C92F-B676-97A0-944C-F4610B5EE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38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Отбивка_голуб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97EF53-7A92-B201-9D1A-BDFE592DA6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83C0C77-346A-653A-B432-94E6E5D4CE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81000"/>
                </a:srgbClr>
              </a:gs>
              <a:gs pos="100000">
                <a:srgbClr val="6194CE">
                  <a:alpha val="68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D4FA406-02F5-27B6-6C8A-AD25B589E5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12" name="Текст 106">
            <a:extLst>
              <a:ext uri="{FF2B5EF4-FFF2-40B4-BE49-F238E27FC236}">
                <a16:creationId xmlns:a16="http://schemas.microsoft.com/office/drawing/2014/main" id="{AD2A712E-3292-631A-B8E3-CDF97A531B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57CB08D-776F-8183-ACDF-5DCE6E80D0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5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Отбивка_бирю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176FDA0-2A75-A8F4-24D0-07E2527BC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" t="317" r="21" b="638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EB29149-9F61-5DF3-B6A9-86BF7B83F1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29000"/>
                </a:srgbClr>
              </a:gs>
              <a:gs pos="100000">
                <a:srgbClr val="6194CE">
                  <a:alpha val="6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D4FA406-02F5-27B6-6C8A-AD25B589E5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12" name="Текст 106">
            <a:extLst>
              <a:ext uri="{FF2B5EF4-FFF2-40B4-BE49-F238E27FC236}">
                <a16:creationId xmlns:a16="http://schemas.microsoft.com/office/drawing/2014/main" id="{AD2A712E-3292-631A-B8E3-CDF97A531B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6B0EFBB-58D0-98A8-33AA-1E21684D08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88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721" y="1473083"/>
            <a:ext cx="11718235" cy="4207913"/>
          </a:xfrm>
        </p:spPr>
        <p:txBody>
          <a:bodyPr lIns="144000" rIns="144000" numCol="1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1200"/>
              </a:spcAft>
              <a:buFont typeface="+mj-lt"/>
              <a:buNone/>
              <a:defRPr sz="3600" b="1">
                <a:solidFill>
                  <a:schemeClr val="accent5"/>
                </a:solidFill>
                <a:latin typeface="Calibri" panose="020F0502020204030204" pitchFamily="34" charset="0"/>
              </a:defRPr>
            </a:lvl1pPr>
            <a:lvl2pPr marL="609585" indent="0" algn="ctr">
              <a:buFont typeface="+mj-lt"/>
              <a:buNone/>
              <a:defRPr sz="2800">
                <a:solidFill>
                  <a:schemeClr val="accent5"/>
                </a:solidFill>
                <a:latin typeface="+mj-lt"/>
              </a:defRPr>
            </a:lvl2pPr>
            <a:lvl3pPr marL="1219170" indent="0" algn="ctr">
              <a:buFont typeface="+mj-lt"/>
              <a:buNone/>
              <a:defRPr sz="2000">
                <a:solidFill>
                  <a:schemeClr val="accent5"/>
                </a:solidFill>
                <a:latin typeface="+mj-lt"/>
              </a:defRPr>
            </a:lvl3pPr>
            <a:lvl4pPr marL="1828755" indent="0" algn="ctr">
              <a:buFont typeface="+mj-lt"/>
              <a:buNone/>
              <a:defRPr sz="1800">
                <a:solidFill>
                  <a:schemeClr val="accent5"/>
                </a:solidFill>
                <a:latin typeface="+mj-lt"/>
              </a:defRPr>
            </a:lvl4pPr>
            <a:lvl5pPr marL="2438339" indent="0" algn="ctr">
              <a:buFont typeface="+mj-lt"/>
              <a:buNone/>
              <a:defRPr sz="1800">
                <a:solidFill>
                  <a:schemeClr val="accent5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43EB71-4F3E-45B3-8E85-863BCADE5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2F40CE-40A6-4E98-8FA3-ABEFEEF53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A9A495-F1B2-49C4-BB4E-A9CE6DA1E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85EB50-B952-464F-938D-CAC0A5B6CAA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1634123-BC3F-4D6F-BF61-011B96006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977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Отбивка_си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303C043-6660-E02D-33E4-879EE29715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D4FA406-02F5-27B6-6C8A-AD25B589E5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12" name="Текст 106">
            <a:extLst>
              <a:ext uri="{FF2B5EF4-FFF2-40B4-BE49-F238E27FC236}">
                <a16:creationId xmlns:a16="http://schemas.microsoft.com/office/drawing/2014/main" id="{AD2A712E-3292-631A-B8E3-CDF97A531B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1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07E8B94-1E32-39B1-6F24-02E3D07785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48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Отбивка c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>
            <a:extLst>
              <a:ext uri="{FF2B5EF4-FFF2-40B4-BE49-F238E27FC236}">
                <a16:creationId xmlns:a16="http://schemas.microsoft.com/office/drawing/2014/main" id="{957D9A9B-76D3-B684-639B-E70B74DFB1F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9B3E85-6CDE-12D1-1DBB-6534B95FF6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4" name="Текст 106">
            <a:extLst>
              <a:ext uri="{FF2B5EF4-FFF2-40B4-BE49-F238E27FC236}">
                <a16:creationId xmlns:a16="http://schemas.microsoft.com/office/drawing/2014/main" id="{5C4660D0-8793-DAE9-8EB4-D32321C257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3AFF111-7A37-3328-E97A-538D642C13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64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ро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E89F580-0190-C8BD-2A81-C63627B900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" t="317" b="632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Рисунок 9">
            <a:extLst>
              <a:ext uri="{FF2B5EF4-FFF2-40B4-BE49-F238E27FC236}">
                <a16:creationId xmlns:a16="http://schemas.microsoft.com/office/drawing/2014/main" id="{58918D28-6ED9-9606-8CCC-0166BA645F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Заголовок 7">
            <a:extLst>
              <a:ext uri="{FF2B5EF4-FFF2-40B4-BE49-F238E27FC236}">
                <a16:creationId xmlns:a16="http://schemas.microsoft.com/office/drawing/2014/main" id="{9962E952-4A06-7DCD-3167-E0395B022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Platshållare för text 7">
            <a:extLst>
              <a:ext uri="{FF2B5EF4-FFF2-40B4-BE49-F238E27FC236}">
                <a16:creationId xmlns:a16="http://schemas.microsoft.com/office/drawing/2014/main" id="{CD793957-6CD1-707A-EAAA-864DCC2D6C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Текст 5">
            <a:extLst>
              <a:ext uri="{FF2B5EF4-FFF2-40B4-BE49-F238E27FC236}">
                <a16:creationId xmlns:a16="http://schemas.microsoft.com/office/drawing/2014/main" id="{4409D4AA-EC13-66E2-9009-CA3CE43574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3232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голуб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97EF53-7A92-B201-9D1A-BDFE592DA6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83C0C77-346A-653A-B432-94E6E5D4CE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81000"/>
                </a:srgbClr>
              </a:gs>
              <a:gs pos="100000">
                <a:srgbClr val="6194CE">
                  <a:alpha val="68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DB242638-9637-9AD2-526A-CC1538D7C2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6" name="Заголовок 7">
            <a:extLst>
              <a:ext uri="{FF2B5EF4-FFF2-40B4-BE49-F238E27FC236}">
                <a16:creationId xmlns:a16="http://schemas.microsoft.com/office/drawing/2014/main" id="{3067DA27-39C5-8E3F-66DA-D702A5CA4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57A14A2D-9F1E-191F-808A-49D1402BC9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Текст 5">
            <a:extLst>
              <a:ext uri="{FF2B5EF4-FFF2-40B4-BE49-F238E27FC236}">
                <a16:creationId xmlns:a16="http://schemas.microsoft.com/office/drawing/2014/main" id="{72BC4D4D-6772-5373-F973-7350E841D1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68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бирю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176FDA0-2A75-A8F4-24D0-07E2527BC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" t="317" r="21" b="638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EB29149-9F61-5DF3-B6A9-86BF7B83F1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29000"/>
                </a:srgbClr>
              </a:gs>
              <a:gs pos="100000">
                <a:srgbClr val="6194CE">
                  <a:alpha val="6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4F7D7AB6-B81B-2AF1-4C82-6D050C6CAA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7" name="Заголовок 7">
            <a:extLst>
              <a:ext uri="{FF2B5EF4-FFF2-40B4-BE49-F238E27FC236}">
                <a16:creationId xmlns:a16="http://schemas.microsoft.com/office/drawing/2014/main" id="{870FB860-1FED-015F-710F-C8EA1ECD3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1BADD4A0-878F-33FA-8C66-5D1520B6F6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Текст 5">
            <a:extLst>
              <a:ext uri="{FF2B5EF4-FFF2-40B4-BE49-F238E27FC236}">
                <a16:creationId xmlns:a16="http://schemas.microsoft.com/office/drawing/2014/main" id="{7F0A865D-A35F-AB31-D342-AA60E4FCD2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237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одукт_си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303C043-6660-E02D-33E4-879EE29715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7">
            <a:extLst>
              <a:ext uri="{FF2B5EF4-FFF2-40B4-BE49-F238E27FC236}">
                <a16:creationId xmlns:a16="http://schemas.microsoft.com/office/drawing/2014/main" id="{29CEB9D4-BCDA-F004-8255-A8F83E1B4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6312578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0EEFAC87-98C4-14B5-22A0-2E51FACEA7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6" y="234042"/>
            <a:ext cx="6312578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5E6879AD-5DA6-B630-880C-EF610DD3DD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228" y="0"/>
            <a:ext cx="535577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F9C9B84E-2EA5-158B-352A-6CEE66E1B1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2498724"/>
            <a:ext cx="5761037" cy="3717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1911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артинка (подиум)+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5">
            <a:extLst>
              <a:ext uri="{FF2B5EF4-FFF2-40B4-BE49-F238E27FC236}">
                <a16:creationId xmlns:a16="http://schemas.microsoft.com/office/drawing/2014/main" id="{6333D3F3-D0CD-20B3-40B9-367F9E44F67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76F54FF-7491-904E-629C-A5B760230D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57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+ромби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8808418-C30B-AA64-C36E-70794B451D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 b="437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97D65CD2-636B-7226-5D65-F1DCFCC94FB5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7046414" y="1170330"/>
            <a:ext cx="2810045" cy="2810043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2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US" sz="1400" b="1" smtClean="0">
                <a:solidFill>
                  <a:schemeClr val="bg2"/>
                </a:solidFill>
                <a:latin typeface="+mn-lt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ru-RU" dirty="0"/>
              <a:t>текст</a:t>
            </a:r>
            <a:endParaRPr lang="en-GB" dirty="0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AE12F37D-9BFA-258B-119C-12A0BDC5C3A0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9296675" y="2575351"/>
            <a:ext cx="2515864" cy="2515862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5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GB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marL="0" lvl="0" indent="0" algn="ctr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</a:pPr>
            <a:r>
              <a:rPr lang="ru-RU" dirty="0"/>
              <a:t>текст</a:t>
            </a:r>
            <a:endParaRPr lang="en-GB" dirty="0"/>
          </a:p>
        </p:txBody>
      </p:sp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9E960FAB-8316-4FA9-9DF0-CE5D5899AA88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8038743" y="4268128"/>
            <a:ext cx="2249262" cy="224926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bg2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GB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marL="0" lvl="0" indent="0" algn="ctr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</a:pPr>
            <a:r>
              <a:rPr lang="ru-RU" dirty="0"/>
              <a:t>текст</a:t>
            </a:r>
            <a:endParaRPr lang="en-GB" dirty="0"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3B47B67D-A166-5FF0-BF60-20D6F9FC1876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>
            <a:off x="5788482" y="3195635"/>
            <a:ext cx="2515864" cy="2515862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4"/>
          </a:solidFill>
          <a:ln w="28575">
            <a:noFill/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GB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marL="0" lvl="0" indent="0" algn="ctr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</a:pPr>
            <a:r>
              <a:rPr lang="ru-RU" dirty="0"/>
              <a:t>текст</a:t>
            </a:r>
            <a:endParaRPr lang="en-GB" dirty="0"/>
          </a:p>
        </p:txBody>
      </p:sp>
      <p:sp>
        <p:nvSpPr>
          <p:cNvPr id="15" name="Текст 5">
            <a:extLst>
              <a:ext uri="{FF2B5EF4-FFF2-40B4-BE49-F238E27FC236}">
                <a16:creationId xmlns:a16="http://schemas.microsoft.com/office/drawing/2014/main" id="{47167B72-863C-A44F-AB80-CCD4D16049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568450"/>
            <a:ext cx="5186917" cy="4648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895335" indent="-285750">
              <a:buFontTx/>
              <a:buBlip>
                <a:blip r:embed="rId3"/>
              </a:buBlip>
              <a:defRPr>
                <a:solidFill>
                  <a:schemeClr val="bg2"/>
                </a:solidFill>
              </a:defRPr>
            </a:lvl2pPr>
            <a:lvl3pPr marL="1390620" indent="-171450">
              <a:buFontTx/>
              <a:buBlip>
                <a:blip r:embed="rId4"/>
              </a:buBlip>
              <a:defRPr>
                <a:solidFill>
                  <a:schemeClr val="bg2"/>
                </a:solidFill>
              </a:defRPr>
            </a:lvl3pPr>
            <a:lvl4pPr marL="2000205" indent="-171450">
              <a:buFontTx/>
              <a:buBlip>
                <a:blip r:embed="rId5"/>
              </a:buBlip>
              <a:defRPr>
                <a:solidFill>
                  <a:schemeClr val="bg2"/>
                </a:solidFill>
              </a:defRPr>
            </a:lvl4pPr>
            <a:lvl5pPr marL="2609789" indent="-171450">
              <a:buFontTx/>
              <a:buBlip>
                <a:blip r:embed="rId6"/>
              </a:buBlip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34D3524-79D1-7F9F-B5E3-87BC0129CC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5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+таблица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7FE2817-A0D5-79D7-932F-7C79E7219F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56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5148255-6C23-526B-A9AF-B67E2B5FDE4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CF0079">
                  <a:alpha val="30000"/>
                </a:srgbClr>
              </a:gs>
              <a:gs pos="54700">
                <a:srgbClr val="741569">
                  <a:alpha val="0"/>
                </a:srgbClr>
              </a:gs>
              <a:gs pos="100000">
                <a:srgbClr val="29265B">
                  <a:alpha val="4600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Диаграмма 17">
            <a:extLst>
              <a:ext uri="{FF2B5EF4-FFF2-40B4-BE49-F238E27FC236}">
                <a16:creationId xmlns:a16="http://schemas.microsoft.com/office/drawing/2014/main" id="{68E3B388-E624-3031-5010-E0F9310857BB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669118" y="2071625"/>
            <a:ext cx="5579281" cy="4155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6" name="Таблица 22">
            <a:extLst>
              <a:ext uri="{FF2B5EF4-FFF2-40B4-BE49-F238E27FC236}">
                <a16:creationId xmlns:a16="http://schemas.microsoft.com/office/drawing/2014/main" id="{DA76AD5A-7DC5-32A4-73BC-C63D22CE3F6A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6680200" y="2071688"/>
            <a:ext cx="4861732" cy="21062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AU" dirty="0" err="1"/>
              <a:t>т</a:t>
            </a:r>
            <a:r>
              <a:rPr lang="ru-RU" dirty="0" err="1"/>
              <a:t>аблица</a:t>
            </a:r>
            <a:endParaRPr lang="ru-RU" dirty="0"/>
          </a:p>
        </p:txBody>
      </p:sp>
      <p:sp>
        <p:nvSpPr>
          <p:cNvPr id="7" name="Текст 24">
            <a:extLst>
              <a:ext uri="{FF2B5EF4-FFF2-40B4-BE49-F238E27FC236}">
                <a16:creationId xmlns:a16="http://schemas.microsoft.com/office/drawing/2014/main" id="{F74FBE1C-650D-1503-85BC-A81C2253C6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85035" y="4495792"/>
            <a:ext cx="4865615" cy="173168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текст</a:t>
            </a:r>
          </a:p>
          <a:p>
            <a:pPr lvl="0"/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4D2A550-710B-0863-B77F-0B8F6B5075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58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483455C-E5F3-ECF1-0162-90C645645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4"/>
          <a:stretch/>
        </p:blipFill>
        <p:spPr>
          <a:xfrm flipH="1">
            <a:off x="1" y="-1"/>
            <a:ext cx="12191999" cy="6858001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5148255-6C23-526B-A9AF-B67E2B5FDE46}"/>
              </a:ext>
            </a:extLst>
          </p:cNvPr>
          <p:cNvSpPr/>
          <p:nvPr userDrawn="1"/>
        </p:nvSpPr>
        <p:spPr>
          <a:xfrm>
            <a:off x="0" y="-1"/>
            <a:ext cx="12192000" cy="6858000"/>
          </a:xfrm>
          <a:prstGeom prst="rect">
            <a:avLst/>
          </a:prstGeom>
          <a:gradFill>
            <a:gsLst>
              <a:gs pos="0">
                <a:srgbClr val="CF0079">
                  <a:alpha val="30000"/>
                </a:srgbClr>
              </a:gs>
              <a:gs pos="54700">
                <a:srgbClr val="741569">
                  <a:alpha val="0"/>
                </a:srgbClr>
              </a:gs>
              <a:gs pos="100000">
                <a:srgbClr val="29265B">
                  <a:alpha val="4600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Таблица 16">
            <a:extLst>
              <a:ext uri="{FF2B5EF4-FFF2-40B4-BE49-F238E27FC236}">
                <a16:creationId xmlns:a16="http://schemas.microsoft.com/office/drawing/2014/main" id="{CF4E50FD-143F-BF56-10F7-8243587513F7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860677" y="2071625"/>
            <a:ext cx="9689973" cy="41558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797B033-1CFC-F17F-53E1-1EE9EA5F0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22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Quote A">
    <p:bg>
      <p:bgPr>
        <a:gradFill>
          <a:gsLst>
            <a:gs pos="100000">
              <a:srgbClr val="E965A8"/>
            </a:gs>
            <a:gs pos="33000">
              <a:srgbClr val="F7BDC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4032" y="1464054"/>
            <a:ext cx="10643936" cy="3441032"/>
          </a:xfrm>
          <a:effectLst>
            <a:outerShdw blurRad="127000" dist="88900" dir="2700000" algn="tl" rotWithShape="0">
              <a:srgbClr val="430506">
                <a:alpha val="40000"/>
              </a:srgbClr>
            </a:outerShdw>
          </a:effectLst>
        </p:spPr>
        <p:txBody>
          <a:bodyPr anchor="ctr">
            <a:noAutofit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lang="en-US" sz="16600" b="1" kern="1200" dirty="0">
                <a:solidFill>
                  <a:schemeClr val="accent3"/>
                </a:solidFill>
                <a:latin typeface="Expressive V" panose="03060602030405030205" pitchFamily="66" charset="0"/>
                <a:ea typeface="+mj-ea"/>
                <a:cs typeface="Expressive V" panose="03060602030405030205" pitchFamily="66" charset="0"/>
              </a:defRPr>
            </a:lvl1pPr>
          </a:lstStyle>
          <a:p>
            <a:r>
              <a:rPr lang="en-GB"/>
              <a:t>statement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D3A93E-1670-4712-8A7A-0854BE731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34B977-548B-4932-9965-9649BC45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4C1E37-0538-4B16-B0B2-3AEFD4F5D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0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812A368-326A-90B8-E254-7715626D39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8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93DA31AA-21D7-1E5E-6A41-CF39A9C85D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4731" y="2417553"/>
            <a:ext cx="2513617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4D67DF10-B2C9-8C60-F7E4-A19C69B49C3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33898" y="2417553"/>
            <a:ext cx="2519360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12A41611-B82B-5818-8CF6-E9CB5C5691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8808" y="2417553"/>
            <a:ext cx="2519360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A1CFD1C8-A8E2-2EFB-59E0-D31A3365F2E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23718" y="2417553"/>
            <a:ext cx="2519360" cy="2520000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3C3E74A-227D-52DC-2953-C61B56A29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91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</p:bld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Любовь к себ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2D6DEFC-1C77-A9CE-7313-F9323EF56A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8" b="3348"/>
          <a:stretch/>
        </p:blipFill>
        <p:spPr>
          <a:xfrm>
            <a:off x="4861461" y="1991428"/>
            <a:ext cx="2471955" cy="1362789"/>
          </a:xfrm>
          <a:prstGeom prst="rect">
            <a:avLst/>
          </a:prstGeom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06139DEE-390F-9063-0927-99946BBB9A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57451" y="4357688"/>
            <a:ext cx="7275512" cy="811129"/>
          </a:xfrm>
          <a:prstGeom prst="rect">
            <a:avLst/>
          </a:prstGeom>
        </p:spPr>
        <p:txBody>
          <a:bodyPr lIns="90000" tIns="46800" rIns="90000" bIns="46800" anchor="t" anchorCtr="0">
            <a:noAutofit/>
          </a:bodyPr>
          <a:lstStyle>
            <a:lvl1pPr marL="0" algn="ctr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3" name="Текст 106">
            <a:extLst>
              <a:ext uri="{FF2B5EF4-FFF2-40B4-BE49-F238E27FC236}">
                <a16:creationId xmlns:a16="http://schemas.microsoft.com/office/drawing/2014/main" id="{C8FD5BD2-DED3-2764-E4EA-7D4B1931A1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7451" y="3443514"/>
            <a:ext cx="7275512" cy="10690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6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81940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месте мы сможем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>
            <a:extLst>
              <a:ext uri="{FF2B5EF4-FFF2-40B4-BE49-F238E27FC236}">
                <a16:creationId xmlns:a16="http://schemas.microsoft.com/office/drawing/2014/main" id="{03E65E07-BBB1-A7D1-8F41-C0A84B05B11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37A5E34-020B-6B2C-7ADD-91D7AB97BC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2" y="5944850"/>
            <a:ext cx="11522075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ctr" defTabSz="914400" rtl="0" eaLnBrk="1" latinLnBrk="0" hangingPunct="1">
              <a:lnSpc>
                <a:spcPct val="100000"/>
              </a:lnSpc>
              <a:defRPr lang="ru-RU" sz="48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ВМЕСТЕ МЫ СМОЖЕМ!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C5901ED-7BFE-0250-19D9-71CF25E4DB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7" b="3337"/>
          <a:stretch/>
        </p:blipFill>
        <p:spPr>
          <a:xfrm>
            <a:off x="5447700" y="281939"/>
            <a:ext cx="1297808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54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Четыре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812A368-326A-90B8-E254-7715626D39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8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5FCF6B8B-29DF-766E-0731-3B049E366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latshållare för text 7">
            <a:extLst>
              <a:ext uri="{FF2B5EF4-FFF2-40B4-BE49-F238E27FC236}">
                <a16:creationId xmlns:a16="http://schemas.microsoft.com/office/drawing/2014/main" id="{22346B27-426E-4BC9-1210-D98854025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234042"/>
            <a:ext cx="10260467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93DA31AA-21D7-1E5E-6A41-CF39A9C85D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4963" y="2417553"/>
            <a:ext cx="214899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4D67DF10-B2C9-8C60-F7E4-A19C69B49C3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73324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12A41611-B82B-5818-8CF6-E9CB5C5691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016595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A1CFD1C8-A8E2-2EFB-59E0-D31A3365F2E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359866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5B3E5079-9246-B743-CD60-606787774A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703137" y="2417553"/>
            <a:ext cx="2153900" cy="2154447"/>
          </a:xfrm>
          <a:custGeom>
            <a:avLst/>
            <a:gdLst>
              <a:gd name="connsiteX0" fmla="*/ 0 w 3308681"/>
              <a:gd name="connsiteY0" fmla="*/ 0 h 1734448"/>
              <a:gd name="connsiteX1" fmla="*/ 3308681 w 3308681"/>
              <a:gd name="connsiteY1" fmla="*/ 0 h 1734448"/>
              <a:gd name="connsiteX2" fmla="*/ 3308681 w 3308681"/>
              <a:gd name="connsiteY2" fmla="*/ 1734448 h 1734448"/>
              <a:gd name="connsiteX3" fmla="*/ 0 w 3308681"/>
              <a:gd name="connsiteY3" fmla="*/ 1734448 h 1734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681" h="1734448">
                <a:moveTo>
                  <a:pt x="0" y="0"/>
                </a:moveTo>
                <a:lnTo>
                  <a:pt x="3308681" y="0"/>
                </a:lnTo>
                <a:lnTo>
                  <a:pt x="3308681" y="1734448"/>
                </a:lnTo>
                <a:lnTo>
                  <a:pt x="0" y="1734448"/>
                </a:lnTo>
                <a:close/>
              </a:path>
            </a:pathLst>
          </a:custGeom>
          <a:pattFill prst="pct2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latin typeface="+mn-lt"/>
              </a:defRPr>
            </a:lvl1pPr>
          </a:lstStyle>
          <a:p>
            <a:endParaRPr lang="id-ID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68725BF-918C-3DEC-D729-C3E8945D8E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8" b="3248"/>
          <a:stretch/>
        </p:blipFill>
        <p:spPr>
          <a:xfrm>
            <a:off x="10626523" y="285750"/>
            <a:ext cx="1295330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31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2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hort Statement B">
    <p:bg>
      <p:bgPr>
        <a:gradFill>
          <a:gsLst>
            <a:gs pos="0">
              <a:srgbClr val="D91174"/>
            </a:gs>
            <a:gs pos="100000">
              <a:srgbClr val="E30415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336DDC8B-97BA-4BBC-B08B-C60A927BC463}"/>
              </a:ext>
            </a:extLst>
          </p:cNvPr>
          <p:cNvSpPr/>
          <p:nvPr/>
        </p:nvSpPr>
        <p:spPr>
          <a:xfrm>
            <a:off x="10803118" y="6356351"/>
            <a:ext cx="1216057" cy="50164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083" y="2467655"/>
            <a:ext cx="11545834" cy="1470025"/>
          </a:xfrm>
          <a:effectLst>
            <a:outerShdw blurRad="127000" dist="88900" dir="2700000" algn="tl" rotWithShape="0">
              <a:srgbClr val="430506">
                <a:alpha val="40000"/>
              </a:srgbClr>
            </a:outerShdw>
          </a:effectLst>
        </p:spPr>
        <p:txBody>
          <a:bodyPr anchor="ctr">
            <a:noAutofit/>
          </a:bodyPr>
          <a:lstStyle>
            <a:lvl1pPr algn="ctr">
              <a:defRPr sz="16600" b="1">
                <a:solidFill>
                  <a:schemeClr val="bg1"/>
                </a:solidFill>
                <a:latin typeface="Expressive V" panose="03060602030405030205" pitchFamily="66" charset="0"/>
                <a:cs typeface="Expressive V" panose="03060602030405030205" pitchFamily="66" charset="0"/>
              </a:defRPr>
            </a:lvl1pPr>
          </a:lstStyle>
          <a:p>
            <a:r>
              <a:rPr lang="en-GB"/>
              <a:t>statement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457C6023-D595-4F77-AC5F-537F3D98B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712DB85-15BE-4F07-A7ED-EBAC52BC6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879179E-D1CC-4BA9-A6CF-D721DCC41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06C8573-D4E4-483E-A58B-9C0C6E169958}"/>
              </a:ext>
            </a:extLst>
          </p:cNvPr>
          <p:cNvSpPr txBox="1">
            <a:spLocks/>
          </p:cNvSpPr>
          <p:nvPr/>
        </p:nvSpPr>
        <p:spPr>
          <a:xfrm>
            <a:off x="11007437" y="6479182"/>
            <a:ext cx="849600" cy="216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2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82875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1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72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8305" y="1918251"/>
            <a:ext cx="10379068" cy="3219233"/>
          </a:xfrm>
        </p:spPr>
        <p:txBody>
          <a:bodyPr lIns="144000" rIns="144000" numCol="2"/>
          <a:lstStyle>
            <a:lvl1pPr marL="288000" marR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 sz="180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marL="288000" marR="0" lvl="0" indent="-2880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+mj-lt"/>
              <a:buAutoNum type="arabicPeriod"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endParaRPr lang="en-GB"/>
          </a:p>
          <a:p>
            <a:pPr lvl="0"/>
            <a:endParaRPr lang="en-GB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8894B202-D59C-400F-92E2-54A3F10CC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b="0"/>
            </a:lvl1pPr>
          </a:lstStyle>
          <a:p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53A2B22E-FFA1-4720-A74D-85DB2242C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b="0"/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17">
            <a:extLst>
              <a:ext uri="{FF2B5EF4-FFF2-40B4-BE49-F238E27FC236}">
                <a16:creationId xmlns:a16="http://schemas.microsoft.com/office/drawing/2014/main" id="{6BE209F4-74BD-4301-99B4-12A26D5EF0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anchor="ctr"/>
          <a:lstStyle>
            <a:lvl1pPr marL="0" algn="ctr" defTabSz="609585" rtl="0" eaLnBrk="1" latinLnBrk="0" hangingPunct="1">
              <a:defRPr lang="en-US" sz="1000" b="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17D36B-4228-4E4B-9F23-67904739D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24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144000" rIns="144000" numCol="1"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106937-FE56-4ABA-AC93-1A57065CA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F2877A-2E73-49D6-BEF7-B7B41D119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8009F8-C6B5-48EF-A44C-27C29ABCB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F35EDD1-2690-451E-93D6-88D3F0373AE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F533C9F-0125-4C88-B377-05036B37B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108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10363200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8F042F8-1158-4CFB-9372-B2675B8079A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542954D-5F03-417D-A0AC-A8A964BF5A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7963" y="1918800"/>
            <a:ext cx="11718925" cy="4210050"/>
          </a:xfrm>
        </p:spPr>
        <p:txBody>
          <a:bodyPr lIns="144000" rIns="144000" numCol="2" spcCol="180000">
            <a:noAutofit/>
          </a:bodyPr>
          <a:lstStyle>
            <a:lvl2pPr marL="895335" indent="-28575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73113-FB78-415B-81B5-A89EF03E20D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D434EC-BC9C-4EE2-A0D5-7F423953DA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ABF3DC-63A6-47C3-986A-E5962593C8F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3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71D56A5-60E6-4A4F-81C1-820BA47F47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8800" y="1918800"/>
            <a:ext cx="11718000" cy="4208462"/>
          </a:xfrm>
        </p:spPr>
        <p:txBody>
          <a:bodyPr lIns="144000" rIns="144000" numCol="2" spcCol="180000">
            <a:noAutofit/>
          </a:bodyPr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 marL="895335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39062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2000205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100"/>
            </a:lvl4pPr>
            <a:lvl5pPr marL="2609789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E785E0-15CC-4C7B-83E9-5B9E16B4874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79BD368-224E-4D78-8F92-2424B97C4A4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E0CD7D5-7C9F-46D5-B11F-5B898C004C1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10A940B-3575-4853-A278-ACFDD7FB8F9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B5C36-448A-473A-A129-99322DD41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725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18ED1B6-58AC-4C21-AAB2-BB46DABA25F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167E9C-602D-47F7-B25C-D8711E9C812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9878DF-EAB7-4363-BC8E-4FF26AA8A22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94DA22E-75D7-4D57-8FF8-C771F6ADD0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BF3DAF-8CB8-4FA2-90E5-74386776D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519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i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9A2AFD6F-5DBF-4A70-9C5C-4249D743209F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20C2D34-0C5F-4507-B114-6D49E639572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BC45048-EBB5-4683-A96F-0F13FB0A5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4399" y="5718686"/>
            <a:ext cx="6418385" cy="531891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te</a:t>
            </a: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7A7D9C7-D8B6-463D-96C1-6DBC09F47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434570"/>
            <a:ext cx="8338932" cy="2246400"/>
          </a:xfrm>
          <a:custGeom>
            <a:avLst/>
            <a:gdLst>
              <a:gd name="connsiteX0" fmla="*/ 0 w 8338932"/>
              <a:gd name="connsiteY0" fmla="*/ 0 h 2246400"/>
              <a:gd name="connsiteX1" fmla="*/ 215069 w 8338932"/>
              <a:gd name="connsiteY1" fmla="*/ 0 h 2246400"/>
              <a:gd name="connsiteX2" fmla="*/ 7084463 w 8338932"/>
              <a:gd name="connsiteY2" fmla="*/ 0 h 2246400"/>
              <a:gd name="connsiteX3" fmla="*/ 7947753 w 8338932"/>
              <a:gd name="connsiteY3" fmla="*/ 383532 h 2246400"/>
              <a:gd name="connsiteX4" fmla="*/ 8109620 w 8338932"/>
              <a:gd name="connsiteY4" fmla="*/ 547903 h 2246400"/>
              <a:gd name="connsiteX5" fmla="*/ 8338932 w 8338932"/>
              <a:gd name="connsiteY5" fmla="*/ 1123200 h 2246400"/>
              <a:gd name="connsiteX6" fmla="*/ 8109620 w 8338932"/>
              <a:gd name="connsiteY6" fmla="*/ 1712195 h 2246400"/>
              <a:gd name="connsiteX7" fmla="*/ 7947753 w 8338932"/>
              <a:gd name="connsiteY7" fmla="*/ 1876566 h 2246400"/>
              <a:gd name="connsiteX8" fmla="*/ 7084463 w 8338932"/>
              <a:gd name="connsiteY8" fmla="*/ 2246400 h 2246400"/>
              <a:gd name="connsiteX9" fmla="*/ 0 w 8338932"/>
              <a:gd name="connsiteY9" fmla="*/ 2246400 h 22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38932" h="2246400">
                <a:moveTo>
                  <a:pt x="0" y="0"/>
                </a:moveTo>
                <a:lnTo>
                  <a:pt x="215069" y="0"/>
                </a:lnTo>
                <a:cubicBezTo>
                  <a:pt x="7084463" y="0"/>
                  <a:pt x="7084463" y="0"/>
                  <a:pt x="7084463" y="0"/>
                </a:cubicBezTo>
                <a:cubicBezTo>
                  <a:pt x="7408197" y="0"/>
                  <a:pt x="7704953" y="136976"/>
                  <a:pt x="7947753" y="383532"/>
                </a:cubicBezTo>
                <a:cubicBezTo>
                  <a:pt x="8109620" y="547903"/>
                  <a:pt x="8109620" y="547903"/>
                  <a:pt x="8109620" y="547903"/>
                </a:cubicBezTo>
                <a:cubicBezTo>
                  <a:pt x="8257998" y="698576"/>
                  <a:pt x="8338932" y="904039"/>
                  <a:pt x="8338932" y="1123200"/>
                </a:cubicBezTo>
                <a:cubicBezTo>
                  <a:pt x="8338932" y="1356059"/>
                  <a:pt x="8257998" y="1561522"/>
                  <a:pt x="8109620" y="1712195"/>
                </a:cubicBezTo>
                <a:cubicBezTo>
                  <a:pt x="7947753" y="1876566"/>
                  <a:pt x="7947753" y="1876566"/>
                  <a:pt x="7947753" y="1876566"/>
                </a:cubicBezTo>
                <a:cubicBezTo>
                  <a:pt x="7704953" y="2123122"/>
                  <a:pt x="7408197" y="2246400"/>
                  <a:pt x="7084463" y="2246400"/>
                </a:cubicBezTo>
                <a:lnTo>
                  <a:pt x="0" y="2246400"/>
                </a:lnTo>
                <a:close/>
              </a:path>
            </a:pathLst>
          </a:custGeom>
          <a:solidFill>
            <a:schemeClr val="bg1">
              <a:alpha val="69000"/>
            </a:schemeClr>
          </a:solidFill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</p:spPr>
        <p:txBody>
          <a:bodyPr wrap="square" lIns="1004400" rIns="576000" anchor="ctr" anchorCtr="0">
            <a:no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Presentation </a:t>
            </a:r>
            <a:br>
              <a:rPr lang="en-US"/>
            </a:br>
            <a:r>
              <a:rPr lang="en-US"/>
              <a:t>Title</a:t>
            </a:r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F34EE67-5340-4FDA-A186-53DDDC5193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6040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&amp; 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10363200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721" y="1918251"/>
            <a:ext cx="5887279" cy="4207913"/>
          </a:xfrm>
        </p:spPr>
        <p:txBody>
          <a:bodyPr lIns="144000" rIns="144000" numCol="1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4E46C8-A25C-47F2-AA47-175E6BCA44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16663" y="1917700"/>
            <a:ext cx="5537200" cy="4208463"/>
          </a:xfrm>
        </p:spPr>
        <p:txBody>
          <a:bodyPr>
            <a:noAutofit/>
          </a:bodyPr>
          <a:lstStyle>
            <a:lvl1pPr>
              <a:defRPr sz="3200" b="1" i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>
              <a:defRPr sz="2000">
                <a:solidFill>
                  <a:schemeClr val="accent2"/>
                </a:solidFill>
                <a:latin typeface="+mj-lt"/>
              </a:defRPr>
            </a:lvl2pPr>
            <a:lvl3pPr>
              <a:defRPr sz="1600">
                <a:solidFill>
                  <a:schemeClr val="accent2"/>
                </a:solidFill>
                <a:latin typeface="+mj-lt"/>
              </a:defRPr>
            </a:lvl3pPr>
            <a:lvl4pPr>
              <a:defRPr sz="1400">
                <a:solidFill>
                  <a:schemeClr val="accent2"/>
                </a:solidFill>
                <a:latin typeface="+mj-lt"/>
              </a:defRPr>
            </a:lvl4pPr>
            <a:lvl5pPr>
              <a:defRPr sz="140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7F510D2-6054-4DF1-A737-BF3DF492EDD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C20A54-4237-462B-9135-F7796C1E6F6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D81710-57B6-460D-9D96-D330ABFBD3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45AEB2-3846-41C8-9C21-ADE4DADDA0F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04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&amp;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20B64EC-C83C-4005-A5FF-6378C5B219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38663" y="0"/>
            <a:ext cx="7653337" cy="6858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4259653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722" y="1918251"/>
            <a:ext cx="4074520" cy="4207913"/>
          </a:xfrm>
        </p:spPr>
        <p:txBody>
          <a:bodyPr lIns="144000" rIns="144000" numCol="1">
            <a:noAutofit/>
          </a:bodyPr>
          <a:lstStyle>
            <a:lvl1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1pPr>
            <a:lvl2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2pPr>
            <a:lvl3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3pPr>
            <a:lvl4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4pPr>
            <a:lvl5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72122B6-5CB2-42B6-9428-2DF5D432B2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8402599-9EBA-44F7-BBBB-BF2B5D4F405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DBB4A7B-4945-4216-8F91-2AE3D304BC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500C1D9-30FF-4571-A960-F7D6C9E9D4C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4259653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255DABE-45E9-46D6-8359-FDFE083419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63282" y="3470782"/>
            <a:ext cx="2243075" cy="2243075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rgbClr val="DF1995">
              <a:alpha val="7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>
            <a:lvl1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</a:defRPr>
            </a:lvl1pPr>
            <a:lvl2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1600" dirty="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E870CAEB-E9DD-4776-BAB7-ED70A56CEB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007437" y="6479182"/>
            <a:ext cx="849600" cy="21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6F7409A-C794-42CE-89EA-FF753002225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010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&amp;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20B64EC-C83C-4005-A5FF-6378C5B219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38663" y="0"/>
            <a:ext cx="7653337" cy="6858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4259653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722" y="1918251"/>
            <a:ext cx="4074520" cy="4207913"/>
          </a:xfrm>
        </p:spPr>
        <p:txBody>
          <a:bodyPr lIns="144000" rIns="144000" numCol="1">
            <a:noAutofit/>
          </a:bodyPr>
          <a:lstStyle>
            <a:lvl1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1pPr>
            <a:lvl2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2pPr>
            <a:lvl3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3pPr>
            <a:lvl4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4pPr>
            <a:lvl5pPr marL="216000" indent="-2160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72122B6-5CB2-42B6-9428-2DF5D432B2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8402599-9EBA-44F7-BBBB-BF2B5D4F405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DBB4A7B-4945-4216-8F91-2AE3D304BC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500C1D9-30FF-4571-A960-F7D6C9E9D4C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4259653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255DABE-45E9-46D6-8359-FDFE083419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63282" y="3470782"/>
            <a:ext cx="2243075" cy="2243075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rgbClr val="DF1995">
              <a:alpha val="7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>
            <a:lvl1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</a:defRPr>
            </a:lvl1pPr>
            <a:lvl2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1600" dirty="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7C13D12-492B-4859-B1B5-95CE00215B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007437" y="6479182"/>
            <a:ext cx="849600" cy="21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4197DEB-A4DB-4A7D-AD26-C030E1F6F3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258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29628F-C3C8-4E32-8FDB-89848F78C4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9388" y="1275346"/>
            <a:ext cx="11826240" cy="4993479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D7D82B0-F901-4EA3-80A7-595FA4B03D7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32281F5-2761-4CF9-AB30-C772D5EFC9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18569B5-FD76-4C89-AC81-A4C7980265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65A60C1-F38C-4006-9C32-055D39558C50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3B9B57-945D-4968-9D10-744FADE01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586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Rhombus Image &amp; Descri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4F4CCF3-4F44-4BB5-A2AB-73861A79B7B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23920" y="1168816"/>
            <a:ext cx="5574597" cy="5574596"/>
          </a:xfrm>
          <a:custGeom>
            <a:avLst/>
            <a:gdLst>
              <a:gd name="connsiteX0" fmla="*/ 3271921 w 6628825"/>
              <a:gd name="connsiteY0" fmla="*/ 72 h 6628824"/>
              <a:gd name="connsiteX1" fmla="*/ 3887342 w 6628825"/>
              <a:gd name="connsiteY1" fmla="*/ 245792 h 6628824"/>
              <a:gd name="connsiteX2" fmla="*/ 6367337 w 6628825"/>
              <a:gd name="connsiteY2" fmla="*/ 2663002 h 6628824"/>
              <a:gd name="connsiteX3" fmla="*/ 6383033 w 6628825"/>
              <a:gd name="connsiteY3" fmla="*/ 3887341 h 6628824"/>
              <a:gd name="connsiteX4" fmla="*/ 3965823 w 6628825"/>
              <a:gd name="connsiteY4" fmla="*/ 6367336 h 6628824"/>
              <a:gd name="connsiteX5" fmla="*/ 2741485 w 6628825"/>
              <a:gd name="connsiteY5" fmla="*/ 6383032 h 6628824"/>
              <a:gd name="connsiteX6" fmla="*/ 261489 w 6628825"/>
              <a:gd name="connsiteY6" fmla="*/ 3965822 h 6628824"/>
              <a:gd name="connsiteX7" fmla="*/ 245793 w 6628825"/>
              <a:gd name="connsiteY7" fmla="*/ 2741484 h 6628824"/>
              <a:gd name="connsiteX8" fmla="*/ 2663003 w 6628825"/>
              <a:gd name="connsiteY8" fmla="*/ 261489 h 6628824"/>
              <a:gd name="connsiteX9" fmla="*/ 3271921 w 6628825"/>
              <a:gd name="connsiteY9" fmla="*/ 72 h 6628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28825" h="6628824">
                <a:moveTo>
                  <a:pt x="3271921" y="72"/>
                </a:moveTo>
                <a:cubicBezTo>
                  <a:pt x="3493484" y="-2769"/>
                  <a:pt x="3716129" y="78913"/>
                  <a:pt x="3887342" y="245792"/>
                </a:cubicBezTo>
                <a:lnTo>
                  <a:pt x="6367337" y="2663002"/>
                </a:lnTo>
                <a:cubicBezTo>
                  <a:pt x="6709763" y="2996759"/>
                  <a:pt x="6716790" y="3544914"/>
                  <a:pt x="6383033" y="3887341"/>
                </a:cubicBezTo>
                <a:lnTo>
                  <a:pt x="3965823" y="6367336"/>
                </a:lnTo>
                <a:cubicBezTo>
                  <a:pt x="3632066" y="6709762"/>
                  <a:pt x="3083911" y="6716791"/>
                  <a:pt x="2741485" y="6383032"/>
                </a:cubicBezTo>
                <a:lnTo>
                  <a:pt x="261489" y="3965822"/>
                </a:lnTo>
                <a:cubicBezTo>
                  <a:pt x="-80937" y="3632065"/>
                  <a:pt x="-87964" y="3083910"/>
                  <a:pt x="245793" y="2741484"/>
                </a:cubicBezTo>
                <a:lnTo>
                  <a:pt x="2663003" y="261489"/>
                </a:lnTo>
                <a:cubicBezTo>
                  <a:pt x="2829882" y="90276"/>
                  <a:pt x="3050359" y="2912"/>
                  <a:pt x="3271921" y="72"/>
                </a:cubicBezTo>
                <a:close/>
              </a:path>
            </a:pathLst>
          </a:custGeom>
          <a:noFill/>
        </p:spPr>
        <p:txBody>
          <a:bodyPr vert="horz" wrap="square" lIns="91440" tIns="45720" rIns="91440" bIns="45720" rtlCol="0" anchor="ctr" anchorCtr="0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D7D82B0-F901-4EA3-80A7-595FA4B03D7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32281F5-2761-4CF9-AB30-C772D5EFC9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18569B5-FD76-4C89-AC81-A4C7980265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357442-CDC7-4D14-8CCD-49ED4E9104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3918" y="1528763"/>
            <a:ext cx="5269246" cy="365125"/>
          </a:xfrm>
        </p:spPr>
        <p:txBody>
          <a:bodyPr>
            <a:noAutofit/>
          </a:bodyPr>
          <a:lstStyle>
            <a:lvl1pPr>
              <a:defRPr sz="2000">
                <a:solidFill>
                  <a:schemeClr val="accent3"/>
                </a:solidFill>
                <a:latin typeface="Calibri" panose="020F0502020204030204" pitchFamily="34" charset="0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Image description</a:t>
            </a:r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7945A8D-5149-4618-ADA3-D72B828FBB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3917" y="2016125"/>
            <a:ext cx="5269246" cy="383622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. Lorem ipsum dolor sit </a:t>
            </a:r>
            <a:r>
              <a:rPr lang="en-US" err="1"/>
              <a:t>ame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. 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42E21C-EC80-4B73-BCFF-67082D442D7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44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8DC637-C967-4AD0-9E4B-0E21A97A6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789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&amp;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D7D82B0-F901-4EA3-80A7-595FA4B03D7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32281F5-2761-4CF9-AB30-C772D5EFC9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18569B5-FD76-4C89-AC81-A4C7980265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357442-CDC7-4D14-8CCD-49ED4E9104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40638" y="1528763"/>
            <a:ext cx="3692525" cy="365125"/>
          </a:xfrm>
        </p:spPr>
        <p:txBody>
          <a:bodyPr>
            <a:noAutofit/>
          </a:bodyPr>
          <a:lstStyle>
            <a:lvl1pPr>
              <a:defRPr sz="2000">
                <a:solidFill>
                  <a:schemeClr val="accent3"/>
                </a:solidFill>
                <a:latin typeface="Calibri" panose="020F0502020204030204" pitchFamily="34" charset="0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Image description</a:t>
            </a:r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7945A8D-5149-4618-ADA3-D72B828FBB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40636" y="2016125"/>
            <a:ext cx="4371975" cy="383622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. Lorem ipsum dolor sit </a:t>
            </a:r>
            <a:r>
              <a:rPr lang="en-US" err="1"/>
              <a:t>ame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. Lorem ipsum dolor sit </a:t>
            </a:r>
            <a:r>
              <a:rPr lang="en-US" err="1"/>
              <a:t>amet</a:t>
            </a:r>
            <a:r>
              <a:rPr lang="en-US"/>
              <a:t>.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717684-8D78-4304-A4F1-7350070797B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9388" y="1528763"/>
            <a:ext cx="7316787" cy="432435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E48C07F-5927-49F4-91B7-1E28A65AE32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44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1D77D6-2C29-4FC5-B16B-BFA753239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729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Bulle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D7D82B0-F901-4EA3-80A7-595FA4B03D7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32281F5-2761-4CF9-AB30-C772D5EFC9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18569B5-FD76-4C89-AC81-A4C7980265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357442-CDC7-4D14-8CCD-49ED4E9104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8800" y="1528763"/>
            <a:ext cx="3692525" cy="365125"/>
          </a:xfrm>
        </p:spPr>
        <p:txBody>
          <a:bodyPr>
            <a:noAutofit/>
          </a:bodyPr>
          <a:lstStyle>
            <a:lvl1pPr>
              <a:defRPr sz="2000">
                <a:solidFill>
                  <a:schemeClr val="accent3"/>
                </a:solidFill>
                <a:latin typeface="Calibri" panose="020F0502020204030204" pitchFamily="34" charset="0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Image description</a:t>
            </a:r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7945A8D-5149-4618-ADA3-D72B828FBB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8800" y="2016125"/>
            <a:ext cx="5679379" cy="3836227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</a:p>
          <a:p>
            <a:pPr lvl="0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</a:p>
          <a:p>
            <a:pPr lvl="0"/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endParaRPr lang="en-US"/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lvl="0"/>
            <a:r>
              <a:rPr lang="en-US"/>
              <a:t>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lvl="0"/>
            <a:r>
              <a:rPr lang="en-US"/>
              <a:t>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lvl="0"/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FC2ACF1-7A8D-4A14-9EFA-1AA2C9B7F4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56161" y="1517726"/>
            <a:ext cx="3692525" cy="365125"/>
          </a:xfrm>
        </p:spPr>
        <p:txBody>
          <a:bodyPr>
            <a:noAutofit/>
          </a:bodyPr>
          <a:lstStyle>
            <a:lvl1pPr>
              <a:defRPr sz="2000">
                <a:solidFill>
                  <a:schemeClr val="accent3"/>
                </a:solidFill>
                <a:latin typeface="Calibri" panose="020F0502020204030204" pitchFamily="34" charset="0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Image description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7109A5C-588B-4EA9-80AA-1CC1C5CDC7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6160" y="2005088"/>
            <a:ext cx="5679379" cy="3836227"/>
          </a:xfrm>
        </p:spPr>
        <p:txBody>
          <a:bodyPr>
            <a:noAutofit/>
          </a:bodyPr>
          <a:lstStyle>
            <a:lvl1pPr marL="285750" indent="-285750" algn="l" defTabSz="6095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>
              <a:defRPr sz="1600">
                <a:solidFill>
                  <a:schemeClr val="accent3"/>
                </a:solidFill>
                <a:latin typeface="+mj-lt"/>
              </a:defRPr>
            </a:lvl2pPr>
            <a:lvl3pPr>
              <a:defRPr sz="1200">
                <a:solidFill>
                  <a:schemeClr val="accent3"/>
                </a:solidFill>
                <a:latin typeface="+mj-lt"/>
              </a:defRPr>
            </a:lvl3pPr>
            <a:lvl4pPr>
              <a:defRPr sz="1100">
                <a:solidFill>
                  <a:schemeClr val="accent3"/>
                </a:solidFill>
                <a:latin typeface="+mj-lt"/>
              </a:defRPr>
            </a:lvl4pPr>
            <a:lvl5pPr>
              <a:defRPr sz="1100">
                <a:solidFill>
                  <a:schemeClr val="accent3"/>
                </a:solidFill>
                <a:latin typeface="+mj-lt"/>
              </a:defRPr>
            </a:lvl5pPr>
          </a:lstStyle>
          <a:p>
            <a:pPr marL="285750" lvl="0" indent="-285750" algn="l" defTabSz="6095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</a:p>
          <a:p>
            <a:pPr marL="285750" lvl="0" indent="-285750" algn="l" defTabSz="6095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</a:p>
          <a:p>
            <a:pPr marL="285750" lvl="0" indent="-285750" algn="l" defTabSz="6095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endParaRPr lang="en-US"/>
          </a:p>
          <a:p>
            <a:pPr marL="285750" lvl="0" indent="-285750" algn="l" defTabSz="6095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5750" lvl="0" indent="-285750" algn="l" defTabSz="6095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/>
              <a:t>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5750" lvl="0" indent="-285750" algn="l" defTabSz="6095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/>
              <a:t>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5750" lvl="0" indent="-28575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A60C92A-05CE-4F01-B75F-B3E9D134B51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44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4F049A-E241-4AF1-A5AF-1CB833E8C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14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01D5C42-F3CC-49B7-BCC5-E82D9DFF94C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70622175-B850-4C01-8844-C4BA30EDF6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614531-4E02-45CB-B011-27B08ADF3E2E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225D1F-A5EC-475E-B5C2-5056C561E0E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51F99-C05B-46E7-A9C1-FEF9FE4184B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8532F05-2A08-419D-BDA9-E4F449F89F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5162" y="1350466"/>
            <a:ext cx="4518923" cy="4518923"/>
          </a:xfrm>
          <a:custGeom>
            <a:avLst/>
            <a:gdLst>
              <a:gd name="connsiteX0" fmla="*/ 2230495 w 4518923"/>
              <a:gd name="connsiteY0" fmla="*/ 49 h 4518923"/>
              <a:gd name="connsiteX1" fmla="*/ 2650032 w 4518923"/>
              <a:gd name="connsiteY1" fmla="*/ 167558 h 4518923"/>
              <a:gd name="connsiteX2" fmla="*/ 4340664 w 4518923"/>
              <a:gd name="connsiteY2" fmla="*/ 1815390 h 4518923"/>
              <a:gd name="connsiteX3" fmla="*/ 4351365 w 4518923"/>
              <a:gd name="connsiteY3" fmla="*/ 2650032 h 4518923"/>
              <a:gd name="connsiteX4" fmla="*/ 2703533 w 4518923"/>
              <a:gd name="connsiteY4" fmla="*/ 4340664 h 4518923"/>
              <a:gd name="connsiteX5" fmla="*/ 1868892 w 4518923"/>
              <a:gd name="connsiteY5" fmla="*/ 4351365 h 4518923"/>
              <a:gd name="connsiteX6" fmla="*/ 178259 w 4518923"/>
              <a:gd name="connsiteY6" fmla="*/ 2703533 h 4518923"/>
              <a:gd name="connsiteX7" fmla="*/ 167558 w 4518923"/>
              <a:gd name="connsiteY7" fmla="*/ 1868892 h 4518923"/>
              <a:gd name="connsiteX8" fmla="*/ 1815390 w 4518923"/>
              <a:gd name="connsiteY8" fmla="*/ 178259 h 4518923"/>
              <a:gd name="connsiteX9" fmla="*/ 2230495 w 4518923"/>
              <a:gd name="connsiteY9" fmla="*/ 49 h 451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923" h="4518923">
                <a:moveTo>
                  <a:pt x="2230495" y="49"/>
                </a:moveTo>
                <a:cubicBezTo>
                  <a:pt x="2381535" y="-1887"/>
                  <a:pt x="2533315" y="53796"/>
                  <a:pt x="2650032" y="167558"/>
                </a:cubicBezTo>
                <a:lnTo>
                  <a:pt x="4340664" y="1815390"/>
                </a:lnTo>
                <a:cubicBezTo>
                  <a:pt x="4574099" y="2042915"/>
                  <a:pt x="4578890" y="2416597"/>
                  <a:pt x="4351365" y="2650032"/>
                </a:cubicBezTo>
                <a:lnTo>
                  <a:pt x="2703533" y="4340664"/>
                </a:lnTo>
                <a:cubicBezTo>
                  <a:pt x="2476008" y="4574099"/>
                  <a:pt x="2102326" y="4578890"/>
                  <a:pt x="1868892" y="4351365"/>
                </a:cubicBezTo>
                <a:lnTo>
                  <a:pt x="178259" y="2703533"/>
                </a:lnTo>
                <a:cubicBezTo>
                  <a:pt x="-55175" y="2476008"/>
                  <a:pt x="-59966" y="2102326"/>
                  <a:pt x="167558" y="1868892"/>
                </a:cubicBezTo>
                <a:lnTo>
                  <a:pt x="1815390" y="178259"/>
                </a:lnTo>
                <a:cubicBezTo>
                  <a:pt x="1929153" y="61542"/>
                  <a:pt x="2079455" y="1985"/>
                  <a:pt x="2230495" y="4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32000" tIns="720000" rIns="432000" bIns="720000" rtlCol="0" anchor="t">
            <a:noAutofit/>
          </a:bodyPr>
          <a:lstStyle>
            <a:lvl1pPr marL="0" algn="ctr">
              <a:defRPr lang="en-US" sz="3200" smtClean="0">
                <a:solidFill>
                  <a:schemeClr val="accent1"/>
                </a:solidFill>
                <a:latin typeface="+mn-lt"/>
              </a:defRPr>
            </a:lvl1pPr>
            <a:lvl2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2pPr>
            <a:lvl3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3pPr>
            <a:lvl4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4pPr>
            <a:lvl5pPr marL="0" algn="ctr">
              <a:defRPr lang="en-GB" sz="1400">
                <a:solidFill>
                  <a:schemeClr val="accen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C826C8F-ECF7-4F92-9DA8-0889D15114B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283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FEAFEFA-8527-47B8-AD2D-8229A0B3FC83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B433B52-6029-4306-80DF-AA59FC85E92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614531-4E02-45CB-B011-27B08ADF3E2E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225D1F-A5EC-475E-B5C2-5056C561E0E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51F99-C05B-46E7-A9C1-FEF9FE4184B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8532F05-2A08-419D-BDA9-E4F449F89F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5162" y="1350466"/>
            <a:ext cx="4518923" cy="4518923"/>
          </a:xfrm>
          <a:custGeom>
            <a:avLst/>
            <a:gdLst>
              <a:gd name="connsiteX0" fmla="*/ 2230495 w 4518923"/>
              <a:gd name="connsiteY0" fmla="*/ 49 h 4518923"/>
              <a:gd name="connsiteX1" fmla="*/ 2650032 w 4518923"/>
              <a:gd name="connsiteY1" fmla="*/ 167558 h 4518923"/>
              <a:gd name="connsiteX2" fmla="*/ 4340664 w 4518923"/>
              <a:gd name="connsiteY2" fmla="*/ 1815390 h 4518923"/>
              <a:gd name="connsiteX3" fmla="*/ 4351365 w 4518923"/>
              <a:gd name="connsiteY3" fmla="*/ 2650032 h 4518923"/>
              <a:gd name="connsiteX4" fmla="*/ 2703533 w 4518923"/>
              <a:gd name="connsiteY4" fmla="*/ 4340664 h 4518923"/>
              <a:gd name="connsiteX5" fmla="*/ 1868892 w 4518923"/>
              <a:gd name="connsiteY5" fmla="*/ 4351365 h 4518923"/>
              <a:gd name="connsiteX6" fmla="*/ 178259 w 4518923"/>
              <a:gd name="connsiteY6" fmla="*/ 2703533 h 4518923"/>
              <a:gd name="connsiteX7" fmla="*/ 167558 w 4518923"/>
              <a:gd name="connsiteY7" fmla="*/ 1868892 h 4518923"/>
              <a:gd name="connsiteX8" fmla="*/ 1815390 w 4518923"/>
              <a:gd name="connsiteY8" fmla="*/ 178259 h 4518923"/>
              <a:gd name="connsiteX9" fmla="*/ 2230495 w 4518923"/>
              <a:gd name="connsiteY9" fmla="*/ 49 h 451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923" h="4518923">
                <a:moveTo>
                  <a:pt x="2230495" y="49"/>
                </a:moveTo>
                <a:cubicBezTo>
                  <a:pt x="2381535" y="-1887"/>
                  <a:pt x="2533315" y="53796"/>
                  <a:pt x="2650032" y="167558"/>
                </a:cubicBezTo>
                <a:lnTo>
                  <a:pt x="4340664" y="1815390"/>
                </a:lnTo>
                <a:cubicBezTo>
                  <a:pt x="4574099" y="2042915"/>
                  <a:pt x="4578890" y="2416597"/>
                  <a:pt x="4351365" y="2650032"/>
                </a:cubicBezTo>
                <a:lnTo>
                  <a:pt x="2703533" y="4340664"/>
                </a:lnTo>
                <a:cubicBezTo>
                  <a:pt x="2476008" y="4574099"/>
                  <a:pt x="2102326" y="4578890"/>
                  <a:pt x="1868892" y="4351365"/>
                </a:cubicBezTo>
                <a:lnTo>
                  <a:pt x="178259" y="2703533"/>
                </a:lnTo>
                <a:cubicBezTo>
                  <a:pt x="-55175" y="2476008"/>
                  <a:pt x="-59966" y="2102326"/>
                  <a:pt x="167558" y="1868892"/>
                </a:cubicBezTo>
                <a:lnTo>
                  <a:pt x="1815390" y="178259"/>
                </a:lnTo>
                <a:cubicBezTo>
                  <a:pt x="1929153" y="61542"/>
                  <a:pt x="2079455" y="1985"/>
                  <a:pt x="2230495" y="4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32000" tIns="720000" rIns="432000" bIns="720000" rtlCol="0" anchor="t">
            <a:noAutofit/>
          </a:bodyPr>
          <a:lstStyle>
            <a:lvl1pPr marL="0" algn="ctr">
              <a:defRPr lang="en-US" sz="3200" smtClean="0">
                <a:solidFill>
                  <a:schemeClr val="accent1"/>
                </a:solidFill>
                <a:latin typeface="+mn-lt"/>
              </a:defRPr>
            </a:lvl1pPr>
            <a:lvl2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2pPr>
            <a:lvl3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3pPr>
            <a:lvl4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4pPr>
            <a:lvl5pPr marL="0" algn="ctr">
              <a:defRPr lang="en-GB" sz="1400">
                <a:solidFill>
                  <a:schemeClr val="accen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B8BFB45-A3DA-47B0-BED2-5C3B20EE62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75908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D48579E-C62A-4FA2-A0D8-70B20804BDC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4B2729FA-B9BF-4C8E-8C4C-77F317ABDCF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614531-4E02-45CB-B011-27B08ADF3E2E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225D1F-A5EC-475E-B5C2-5056C561E0E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51F99-C05B-46E7-A9C1-FEF9FE4184B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8532F05-2A08-419D-BDA9-E4F449F89F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5162" y="1350466"/>
            <a:ext cx="4518923" cy="4518923"/>
          </a:xfrm>
          <a:custGeom>
            <a:avLst/>
            <a:gdLst>
              <a:gd name="connsiteX0" fmla="*/ 2230495 w 4518923"/>
              <a:gd name="connsiteY0" fmla="*/ 49 h 4518923"/>
              <a:gd name="connsiteX1" fmla="*/ 2650032 w 4518923"/>
              <a:gd name="connsiteY1" fmla="*/ 167558 h 4518923"/>
              <a:gd name="connsiteX2" fmla="*/ 4340664 w 4518923"/>
              <a:gd name="connsiteY2" fmla="*/ 1815390 h 4518923"/>
              <a:gd name="connsiteX3" fmla="*/ 4351365 w 4518923"/>
              <a:gd name="connsiteY3" fmla="*/ 2650032 h 4518923"/>
              <a:gd name="connsiteX4" fmla="*/ 2703533 w 4518923"/>
              <a:gd name="connsiteY4" fmla="*/ 4340664 h 4518923"/>
              <a:gd name="connsiteX5" fmla="*/ 1868892 w 4518923"/>
              <a:gd name="connsiteY5" fmla="*/ 4351365 h 4518923"/>
              <a:gd name="connsiteX6" fmla="*/ 178259 w 4518923"/>
              <a:gd name="connsiteY6" fmla="*/ 2703533 h 4518923"/>
              <a:gd name="connsiteX7" fmla="*/ 167558 w 4518923"/>
              <a:gd name="connsiteY7" fmla="*/ 1868892 h 4518923"/>
              <a:gd name="connsiteX8" fmla="*/ 1815390 w 4518923"/>
              <a:gd name="connsiteY8" fmla="*/ 178259 h 4518923"/>
              <a:gd name="connsiteX9" fmla="*/ 2230495 w 4518923"/>
              <a:gd name="connsiteY9" fmla="*/ 49 h 451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923" h="4518923">
                <a:moveTo>
                  <a:pt x="2230495" y="49"/>
                </a:moveTo>
                <a:cubicBezTo>
                  <a:pt x="2381535" y="-1887"/>
                  <a:pt x="2533315" y="53796"/>
                  <a:pt x="2650032" y="167558"/>
                </a:cubicBezTo>
                <a:lnTo>
                  <a:pt x="4340664" y="1815390"/>
                </a:lnTo>
                <a:cubicBezTo>
                  <a:pt x="4574099" y="2042915"/>
                  <a:pt x="4578890" y="2416597"/>
                  <a:pt x="4351365" y="2650032"/>
                </a:cubicBezTo>
                <a:lnTo>
                  <a:pt x="2703533" y="4340664"/>
                </a:lnTo>
                <a:cubicBezTo>
                  <a:pt x="2476008" y="4574099"/>
                  <a:pt x="2102326" y="4578890"/>
                  <a:pt x="1868892" y="4351365"/>
                </a:cubicBezTo>
                <a:lnTo>
                  <a:pt x="178259" y="2703533"/>
                </a:lnTo>
                <a:cubicBezTo>
                  <a:pt x="-55175" y="2476008"/>
                  <a:pt x="-59966" y="2102326"/>
                  <a:pt x="167558" y="1868892"/>
                </a:cubicBezTo>
                <a:lnTo>
                  <a:pt x="1815390" y="178259"/>
                </a:lnTo>
                <a:cubicBezTo>
                  <a:pt x="1929153" y="61542"/>
                  <a:pt x="2079455" y="1985"/>
                  <a:pt x="2230495" y="4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32000" tIns="720000" rIns="432000" bIns="720000" rtlCol="0" anchor="t">
            <a:noAutofit/>
          </a:bodyPr>
          <a:lstStyle>
            <a:lvl1pPr marL="0" algn="ctr">
              <a:defRPr lang="en-US" sz="3200" smtClean="0">
                <a:solidFill>
                  <a:schemeClr val="accent1"/>
                </a:solidFill>
                <a:latin typeface="+mn-lt"/>
              </a:defRPr>
            </a:lvl1pPr>
            <a:lvl2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2pPr>
            <a:lvl3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3pPr>
            <a:lvl4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4pPr>
            <a:lvl5pPr marL="0" algn="ctr">
              <a:defRPr lang="en-GB" sz="1400">
                <a:solidFill>
                  <a:schemeClr val="accen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687D33D-7D59-4309-B019-E7939CCA83F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3252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E8A70D1-AFF7-4AF9-BA9F-37206ACBAD7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739069E-B0A5-4522-BD79-E910AB71E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309154"/>
            <a:ext cx="8338932" cy="2246400"/>
          </a:xfrm>
          <a:custGeom>
            <a:avLst/>
            <a:gdLst>
              <a:gd name="connsiteX0" fmla="*/ 0 w 8338932"/>
              <a:gd name="connsiteY0" fmla="*/ 0 h 2246400"/>
              <a:gd name="connsiteX1" fmla="*/ 215069 w 8338932"/>
              <a:gd name="connsiteY1" fmla="*/ 0 h 2246400"/>
              <a:gd name="connsiteX2" fmla="*/ 7084463 w 8338932"/>
              <a:gd name="connsiteY2" fmla="*/ 0 h 2246400"/>
              <a:gd name="connsiteX3" fmla="*/ 7947753 w 8338932"/>
              <a:gd name="connsiteY3" fmla="*/ 383532 h 2246400"/>
              <a:gd name="connsiteX4" fmla="*/ 8109620 w 8338932"/>
              <a:gd name="connsiteY4" fmla="*/ 547903 h 2246400"/>
              <a:gd name="connsiteX5" fmla="*/ 8338932 w 8338932"/>
              <a:gd name="connsiteY5" fmla="*/ 1123200 h 2246400"/>
              <a:gd name="connsiteX6" fmla="*/ 8109620 w 8338932"/>
              <a:gd name="connsiteY6" fmla="*/ 1712195 h 2246400"/>
              <a:gd name="connsiteX7" fmla="*/ 7947753 w 8338932"/>
              <a:gd name="connsiteY7" fmla="*/ 1876566 h 2246400"/>
              <a:gd name="connsiteX8" fmla="*/ 7084463 w 8338932"/>
              <a:gd name="connsiteY8" fmla="*/ 2246400 h 2246400"/>
              <a:gd name="connsiteX9" fmla="*/ 0 w 8338932"/>
              <a:gd name="connsiteY9" fmla="*/ 2246400 h 22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38932" h="2246400">
                <a:moveTo>
                  <a:pt x="0" y="0"/>
                </a:moveTo>
                <a:lnTo>
                  <a:pt x="215069" y="0"/>
                </a:lnTo>
                <a:cubicBezTo>
                  <a:pt x="7084463" y="0"/>
                  <a:pt x="7084463" y="0"/>
                  <a:pt x="7084463" y="0"/>
                </a:cubicBezTo>
                <a:cubicBezTo>
                  <a:pt x="7408197" y="0"/>
                  <a:pt x="7704953" y="136976"/>
                  <a:pt x="7947753" y="383532"/>
                </a:cubicBezTo>
                <a:cubicBezTo>
                  <a:pt x="8109620" y="547903"/>
                  <a:pt x="8109620" y="547903"/>
                  <a:pt x="8109620" y="547903"/>
                </a:cubicBezTo>
                <a:cubicBezTo>
                  <a:pt x="8257998" y="698576"/>
                  <a:pt x="8338932" y="904039"/>
                  <a:pt x="8338932" y="1123200"/>
                </a:cubicBezTo>
                <a:cubicBezTo>
                  <a:pt x="8338932" y="1356059"/>
                  <a:pt x="8257998" y="1561522"/>
                  <a:pt x="8109620" y="1712195"/>
                </a:cubicBezTo>
                <a:cubicBezTo>
                  <a:pt x="7947753" y="1876566"/>
                  <a:pt x="7947753" y="1876566"/>
                  <a:pt x="7947753" y="1876566"/>
                </a:cubicBezTo>
                <a:cubicBezTo>
                  <a:pt x="7704953" y="2123122"/>
                  <a:pt x="7408197" y="2246400"/>
                  <a:pt x="7084463" y="2246400"/>
                </a:cubicBezTo>
                <a:lnTo>
                  <a:pt x="0" y="2246400"/>
                </a:lnTo>
                <a:close/>
              </a:path>
            </a:pathLst>
          </a:custGeom>
          <a:solidFill>
            <a:schemeClr val="bg2">
              <a:alpha val="74000"/>
            </a:schemeClr>
          </a:solidFill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</p:spPr>
        <p:txBody>
          <a:bodyPr wrap="square" lIns="1004400" rIns="576000" anchor="ctr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</a:t>
            </a:r>
            <a:br>
              <a:rPr lang="en-US"/>
            </a:br>
            <a:r>
              <a:rPr lang="en-US"/>
              <a:t>Title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C5EFD9D-97A1-4C14-A3FE-5685D746BD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4399" y="4593270"/>
            <a:ext cx="6418385" cy="531891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te</a:t>
            </a:r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9F1274-7D1F-4E46-AB03-9C37E63F003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4A22E82-F635-4EEA-AD47-382E522B79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39656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A7C6972A-08F2-4102-8DE7-6E39BC2D095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E49F704-5139-4513-AA65-21229FC6DF22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C3C714-B0E3-40F8-9FAB-38478085C6D7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9DA9BF-5B43-474D-9C3D-B85D69B14DE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391CBA-5022-4B4E-A14A-71860542B9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5162" y="1350466"/>
            <a:ext cx="4518923" cy="4518923"/>
          </a:xfrm>
          <a:custGeom>
            <a:avLst/>
            <a:gdLst>
              <a:gd name="connsiteX0" fmla="*/ 2230495 w 4518923"/>
              <a:gd name="connsiteY0" fmla="*/ 49 h 4518923"/>
              <a:gd name="connsiteX1" fmla="*/ 2650032 w 4518923"/>
              <a:gd name="connsiteY1" fmla="*/ 167558 h 4518923"/>
              <a:gd name="connsiteX2" fmla="*/ 4340664 w 4518923"/>
              <a:gd name="connsiteY2" fmla="*/ 1815390 h 4518923"/>
              <a:gd name="connsiteX3" fmla="*/ 4351365 w 4518923"/>
              <a:gd name="connsiteY3" fmla="*/ 2650032 h 4518923"/>
              <a:gd name="connsiteX4" fmla="*/ 2703533 w 4518923"/>
              <a:gd name="connsiteY4" fmla="*/ 4340664 h 4518923"/>
              <a:gd name="connsiteX5" fmla="*/ 1868892 w 4518923"/>
              <a:gd name="connsiteY5" fmla="*/ 4351365 h 4518923"/>
              <a:gd name="connsiteX6" fmla="*/ 178259 w 4518923"/>
              <a:gd name="connsiteY6" fmla="*/ 2703533 h 4518923"/>
              <a:gd name="connsiteX7" fmla="*/ 167558 w 4518923"/>
              <a:gd name="connsiteY7" fmla="*/ 1868892 h 4518923"/>
              <a:gd name="connsiteX8" fmla="*/ 1815390 w 4518923"/>
              <a:gd name="connsiteY8" fmla="*/ 178259 h 4518923"/>
              <a:gd name="connsiteX9" fmla="*/ 2230495 w 4518923"/>
              <a:gd name="connsiteY9" fmla="*/ 49 h 451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923" h="4518923">
                <a:moveTo>
                  <a:pt x="2230495" y="49"/>
                </a:moveTo>
                <a:cubicBezTo>
                  <a:pt x="2381535" y="-1887"/>
                  <a:pt x="2533315" y="53796"/>
                  <a:pt x="2650032" y="167558"/>
                </a:cubicBezTo>
                <a:lnTo>
                  <a:pt x="4340664" y="1815390"/>
                </a:lnTo>
                <a:cubicBezTo>
                  <a:pt x="4574099" y="2042915"/>
                  <a:pt x="4578890" y="2416597"/>
                  <a:pt x="4351365" y="2650032"/>
                </a:cubicBezTo>
                <a:lnTo>
                  <a:pt x="2703533" y="4340664"/>
                </a:lnTo>
                <a:cubicBezTo>
                  <a:pt x="2476008" y="4574099"/>
                  <a:pt x="2102326" y="4578890"/>
                  <a:pt x="1868892" y="4351365"/>
                </a:cubicBezTo>
                <a:lnTo>
                  <a:pt x="178259" y="2703533"/>
                </a:lnTo>
                <a:cubicBezTo>
                  <a:pt x="-55175" y="2476008"/>
                  <a:pt x="-59966" y="2102326"/>
                  <a:pt x="167558" y="1868892"/>
                </a:cubicBezTo>
                <a:lnTo>
                  <a:pt x="1815390" y="178259"/>
                </a:lnTo>
                <a:cubicBezTo>
                  <a:pt x="1929153" y="61542"/>
                  <a:pt x="2079455" y="1985"/>
                  <a:pt x="2230495" y="49"/>
                </a:cubicBezTo>
                <a:close/>
              </a:path>
            </a:pathLst>
          </a:custGeom>
          <a:solidFill>
            <a:srgbClr val="DF1995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32000" tIns="720000" rIns="432000" bIns="720000" rtlCol="0" anchor="t">
            <a:noAutofit/>
          </a:bodyPr>
          <a:lstStyle>
            <a:lvl1pPr marL="0" algn="ctr">
              <a:defRPr lang="en-US" sz="3200" smtClean="0">
                <a:solidFill>
                  <a:schemeClr val="accent1"/>
                </a:solidFill>
                <a:latin typeface="+mn-lt"/>
              </a:defRPr>
            </a:lvl1pPr>
            <a:lvl2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2pPr>
            <a:lvl3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3pPr>
            <a:lvl4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4pPr>
            <a:lvl5pPr marL="0" algn="ctr">
              <a:defRPr lang="en-GB" sz="1400">
                <a:solidFill>
                  <a:schemeClr val="accen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0E34F3D-0618-4587-AF3E-1A665064D9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F578B33-9695-483D-875B-BB8760B5355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965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, Image and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1A2B1AD0-D0D5-4AEF-8129-6E7C6FC9693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CCD2A5-38D4-4670-A4BE-1DF5EF1D004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EF60B6-D942-49FE-BD26-8CBD28D9EDF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844090-166C-4B9D-8DDF-C1752D7AD1F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B71A7A-C778-4751-A438-7401D05D17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48CE031-BDD2-401F-BA14-A972BD0F6790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7071593" y="1351389"/>
            <a:ext cx="4518000" cy="45180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>
            <a:lvl1pPr marL="0" algn="ctr">
              <a:lnSpc>
                <a:spcPct val="100000"/>
              </a:lnSpc>
              <a:defRPr lang="en-US" sz="1600" dirty="0" smtClean="0">
                <a:solidFill>
                  <a:schemeClr val="bg2"/>
                </a:solidFill>
              </a:defRPr>
            </a:lvl1pPr>
            <a:lvl2pPr marL="0" algn="ctr">
              <a:lnSpc>
                <a:spcPct val="100000"/>
              </a:lnSpc>
              <a:defRPr lang="en-US" sz="1600" dirty="0" smtClean="0">
                <a:solidFill>
                  <a:schemeClr val="bg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1600" dirty="0" smtClean="0">
                <a:solidFill>
                  <a:schemeClr val="bg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1600" dirty="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292676D-03A4-4ABC-9C9A-9B7F5CC29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F3B5D1A0-112F-49C7-9735-E613AE5071C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7D456A6-45F3-4ECE-BC4E-9BB34B6B04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76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 B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10363200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A6E7DF97-99E7-451C-9A25-288F44618D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7963" y="1918800"/>
            <a:ext cx="5783763" cy="4210050"/>
          </a:xfrm>
        </p:spPr>
        <p:txBody>
          <a:bodyPr lIns="144000" rIns="144000" numCol="1" spcCol="180000">
            <a:noAutofit/>
          </a:bodyPr>
          <a:lstStyle>
            <a:lvl1pPr>
              <a:defRPr lang="en-US" sz="18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EDD281A2-713D-4BD6-8765-F2E7BDDFCF1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00276" y="1918800"/>
            <a:ext cx="5783763" cy="4210050"/>
          </a:xfrm>
        </p:spPr>
        <p:txBody>
          <a:bodyPr lIns="144000" rIns="144000" numCol="1" spcCol="180000">
            <a:noAutofit/>
          </a:bodyPr>
          <a:lstStyle>
            <a:lvl1pPr>
              <a:defRPr sz="1800"/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096EA1E-6268-4936-BB65-D38F52E228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D7E37D-2C60-4E3F-918A-EA71856116D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7F3736-E5EC-48A4-8FDD-8512676B5AA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A9EEA0-8C8C-4CD1-8A9D-56946FA496D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34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2 Column B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A16BAF5-D573-4376-BC5C-9294D2BB90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19231" y="1399565"/>
            <a:ext cx="2946555" cy="2946553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US" sz="28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10363200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6697665-7361-4C0A-B4CD-90C305C3F1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7785" y="4543515"/>
            <a:ext cx="3136084" cy="987007"/>
          </a:xfr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ED079EE-6F87-435D-9C63-0400831AD4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1252" y="4543515"/>
            <a:ext cx="3136084" cy="987007"/>
          </a:xfr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1D47BB3-2505-4BD4-9C93-414E920181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4620" y="4543515"/>
            <a:ext cx="3136084" cy="987007"/>
          </a:xfr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86DAD279-1CDA-47C5-864C-87E6B15A6F4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CDB211CD-7A7D-4A9A-8310-16BD36C42E8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1CD322DC-7508-4559-A36B-76DB91C9A7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AE2654B-3928-4098-880B-B7ECFBBC42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285856A-2017-4A76-9F1D-243CA83A8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36017" y="1399565"/>
            <a:ext cx="2946555" cy="2946553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US" sz="28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AD63B6A5-FEEE-4DE5-A278-BB409456AC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22723" y="1399565"/>
            <a:ext cx="2946555" cy="2946553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US" sz="28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1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Image &amp; Caption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10363200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1D47BB3-2505-4BD4-9C93-414E920181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8799" y="1918800"/>
            <a:ext cx="2592000" cy="987007"/>
          </a:xfrm>
        </p:spPr>
        <p:txBody>
          <a:bodyPr lIns="144000" rIns="14400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8D17089-D5C1-438D-9E04-460D81B48A1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967904" y="1918800"/>
            <a:ext cx="3016422" cy="3900239"/>
          </a:xfrm>
          <a:noFill/>
          <a:effectLst/>
        </p:spPr>
        <p:txBody>
          <a:bodyPr>
            <a:noAutofit/>
            <a:flatTx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BA18EF1-B22B-41EF-8CF5-B34BD95120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8799" y="3372727"/>
            <a:ext cx="2592000" cy="987007"/>
          </a:xfrm>
        </p:spPr>
        <p:txBody>
          <a:bodyPr lIns="144000" rIns="14400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5B811B8-C6F4-4AEF-A782-45F2D7B120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34957" y="1918800"/>
            <a:ext cx="2592000" cy="987007"/>
          </a:xfrm>
        </p:spPr>
        <p:txBody>
          <a:bodyPr lIns="144000" rIns="14400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737F7DE6-30EA-4609-BFE2-BFD32E35B64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51431" y="1918800"/>
            <a:ext cx="3016422" cy="3900239"/>
          </a:xfrm>
          <a:noFill/>
          <a:effectLst/>
        </p:spPr>
        <p:txBody>
          <a:bodyPr>
            <a:noAutofit/>
            <a:flatTx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C840E395-537B-49C3-B357-775C91CCEB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34957" y="3372728"/>
            <a:ext cx="2592000" cy="987007"/>
          </a:xfrm>
        </p:spPr>
        <p:txBody>
          <a:bodyPr lIns="144000" rIns="14400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7174916-A700-4E12-80B4-C03DE7FDB3CB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E654578-6E4F-4071-96B8-8B86824AEED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297E229-6664-434B-A723-353DF5A34F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9B4C032-35C4-4810-9A14-3F109557148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29641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Rhombus &amp; Caption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5B811B8-C6F4-4AEF-A782-45F2D7B120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7011" y="1808042"/>
            <a:ext cx="6897276" cy="4183897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</a:t>
            </a:r>
            <a:r>
              <a:rPr lang="en-US"/>
              <a:t> 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</a:t>
            </a:r>
            <a:r>
              <a:rPr lang="en-US"/>
              <a:t> 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</a:t>
            </a:r>
            <a:r>
              <a:rPr lang="en-US"/>
              <a:t> 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7174916-A700-4E12-80B4-C03DE7FDB3CB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E654578-6E4F-4071-96B8-8B86824AEED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297E229-6664-434B-A723-353DF5A34F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057B7F7-C2F4-40B7-B34C-BA820879833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19116" y="1808042"/>
            <a:ext cx="2490787" cy="1090800"/>
          </a:xfrm>
          <a:noFill/>
        </p:spPr>
        <p:txBody>
          <a:bodyPr anchor="ctr" anchorCtr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None/>
              <a:tabLst/>
              <a:defRPr sz="20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da-DK"/>
              <a:t>Lorem ipsum</a:t>
            </a:r>
          </a:p>
          <a:p>
            <a:pPr lvl="0"/>
            <a:r>
              <a:rPr lang="da-DK"/>
              <a:t>Dolor sit amet dolor sit amet sit amet 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77A28DA-02B5-46D7-A5F1-DD47C58DF9A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727CB3-B696-45FB-8BB7-240095244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age title</a:t>
            </a:r>
            <a:endParaRPr lang="en-GB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9A5FDE45-142D-4228-BDBF-0D1B899D6E6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19116" y="3075913"/>
            <a:ext cx="2490787" cy="1090800"/>
          </a:xfrm>
          <a:noFill/>
        </p:spPr>
        <p:txBody>
          <a:bodyPr anchor="ctr" anchorCtr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None/>
              <a:tabLst/>
              <a:defRPr sz="20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da-DK"/>
              <a:t>Lorem ipsum</a:t>
            </a:r>
          </a:p>
          <a:p>
            <a:pPr lvl="0"/>
            <a:r>
              <a:rPr lang="da-DK"/>
              <a:t>Dolor sit amet dolor sit amet sit amet 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B86FA21D-EA0F-4880-A41C-58C4F1DD82B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919116" y="4356845"/>
            <a:ext cx="2490787" cy="1090800"/>
          </a:xfrm>
          <a:noFill/>
        </p:spPr>
        <p:txBody>
          <a:bodyPr anchor="ctr" anchorCtr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+mj-lt"/>
              <a:buNone/>
              <a:tabLst/>
              <a:defRPr sz="20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da-DK"/>
              <a:t>Lorem ipsum</a:t>
            </a:r>
          </a:p>
          <a:p>
            <a:pPr lvl="0"/>
            <a:r>
              <a:rPr lang="da-DK"/>
              <a:t>Dolor sit amet dolor sit amet sit amet 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2DCE1B5C-DBE5-4F25-BCDA-AD8B135548F3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>
          <a:xfrm>
            <a:off x="761150" y="1808042"/>
            <a:ext cx="1090800" cy="10908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0" tIns="0" rIns="0" bIns="108000" rtlCol="0" anchor="ctr" anchorCtr="0">
            <a:noAutofit/>
          </a:bodyPr>
          <a:lstStyle>
            <a:lvl1pPr algn="ctr">
              <a:defRPr lang="en-US" sz="32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01</a:t>
            </a:r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F3D9B2A-0355-4838-8BA5-C1F38F161F92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>
            <a:off x="761150" y="3075913"/>
            <a:ext cx="1090800" cy="10908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0" tIns="0" rIns="0" bIns="108000" rtlCol="0" anchor="ctr" anchorCtr="0">
            <a:noAutofit/>
          </a:bodyPr>
          <a:lstStyle>
            <a:lvl1pPr algn="ctr">
              <a:defRPr lang="en-US" sz="32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02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532BA2A-DF49-4611-8EC1-915024EB7FE0}"/>
              </a:ext>
            </a:extLst>
          </p:cNvPr>
          <p:cNvSpPr>
            <a:spLocks noGrp="1" noChangeAspect="1"/>
          </p:cNvSpPr>
          <p:nvPr>
            <p:ph type="body" sz="quarter" idx="37" hasCustomPrompt="1"/>
          </p:nvPr>
        </p:nvSpPr>
        <p:spPr>
          <a:xfrm>
            <a:off x="761150" y="4356845"/>
            <a:ext cx="1090800" cy="10908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0" tIns="0" rIns="0" bIns="108000" rtlCol="0" anchor="ctr" anchorCtr="0">
            <a:noAutofit/>
          </a:bodyPr>
          <a:lstStyle>
            <a:lvl1pPr algn="ctr">
              <a:defRPr lang="en-US" sz="32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0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897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title, Content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B30A279-99C8-414E-9167-4CD2B16C1FE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429750" y="0"/>
            <a:ext cx="2762250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56725A59-31B5-418F-8EF4-08F019E382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90511" y="0"/>
            <a:ext cx="2645850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3C8E8960-94E5-41A6-A6F8-7C6F7E104F2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15680" y="0"/>
            <a:ext cx="3366189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7106B42C-C40B-4044-9C8F-3CDDAC08C31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723422" y="2074540"/>
            <a:ext cx="2468578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C39B857-1D20-457E-9EF6-9E5E3603A0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143184" y="2074540"/>
            <a:ext cx="2471595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B9A33A0A-9589-46ED-85CE-5246756C2F8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15680" y="2074540"/>
            <a:ext cx="3818863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06DA11B-5B4F-405D-93B2-474BDE62B98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419723" y="4149080"/>
            <a:ext cx="3772277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1B342145-5BE0-4E6A-8EB9-29257A25719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346479" y="4149080"/>
            <a:ext cx="1982709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83A80827-201C-424B-8D91-0F56AFDC26B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215680" y="4149080"/>
            <a:ext cx="3040265" cy="19800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8722" y="1918251"/>
            <a:ext cx="2885955" cy="4207913"/>
          </a:xfrm>
        </p:spPr>
        <p:txBody>
          <a:bodyPr lIns="144000" rIns="144000" numCol="1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2pPr>
            <a:lvl3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4pPr>
            <a:lvl5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72122B6-5CB2-42B6-9428-2DF5D432B2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8402599-9EBA-44F7-BBBB-BF2B5D4F405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DBB4A7B-4945-4216-8F91-2AE3D304BC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FC77188-F5C9-4BD2-A2EC-4E2E503543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" y="179731"/>
            <a:ext cx="11806797" cy="889200"/>
          </a:xfrm>
          <a:custGeom>
            <a:avLst/>
            <a:gdLst>
              <a:gd name="connsiteX0" fmla="*/ 0 w 11806797"/>
              <a:gd name="connsiteY0" fmla="*/ 0 h 889200"/>
              <a:gd name="connsiteX1" fmla="*/ 606609 w 11806797"/>
              <a:gd name="connsiteY1" fmla="*/ 0 h 889200"/>
              <a:gd name="connsiteX2" fmla="*/ 11337893 w 11806797"/>
              <a:gd name="connsiteY2" fmla="*/ 0 h 889200"/>
              <a:gd name="connsiteX3" fmla="*/ 11650495 w 11806797"/>
              <a:gd name="connsiteY3" fmla="*/ 144195 h 889200"/>
              <a:gd name="connsiteX4" fmla="*/ 11717481 w 11806797"/>
              <a:gd name="connsiteY4" fmla="*/ 216292 h 889200"/>
              <a:gd name="connsiteX5" fmla="*/ 11806797 w 11806797"/>
              <a:gd name="connsiteY5" fmla="*/ 432584 h 889200"/>
              <a:gd name="connsiteX6" fmla="*/ 11717481 w 11806797"/>
              <a:gd name="connsiteY6" fmla="*/ 672908 h 889200"/>
              <a:gd name="connsiteX7" fmla="*/ 11650495 w 11806797"/>
              <a:gd name="connsiteY7" fmla="*/ 745006 h 889200"/>
              <a:gd name="connsiteX8" fmla="*/ 11337893 w 11806797"/>
              <a:gd name="connsiteY8" fmla="*/ 889200 h 889200"/>
              <a:gd name="connsiteX9" fmla="*/ 437295 w 11806797"/>
              <a:gd name="connsiteY9" fmla="*/ 889200 h 889200"/>
              <a:gd name="connsiteX10" fmla="*/ 0 w 11806797"/>
              <a:gd name="connsiteY10" fmla="*/ 889200 h 88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06797" h="889200">
                <a:moveTo>
                  <a:pt x="0" y="0"/>
                </a:moveTo>
                <a:lnTo>
                  <a:pt x="606609" y="0"/>
                </a:lnTo>
                <a:cubicBezTo>
                  <a:pt x="11337893" y="0"/>
                  <a:pt x="11337893" y="0"/>
                  <a:pt x="11337893" y="0"/>
                </a:cubicBezTo>
                <a:cubicBezTo>
                  <a:pt x="11449537" y="0"/>
                  <a:pt x="11561181" y="48065"/>
                  <a:pt x="11650495" y="144195"/>
                </a:cubicBezTo>
                <a:cubicBezTo>
                  <a:pt x="11717481" y="216292"/>
                  <a:pt x="11717481" y="216292"/>
                  <a:pt x="11717481" y="216292"/>
                </a:cubicBezTo>
                <a:cubicBezTo>
                  <a:pt x="11762139" y="264357"/>
                  <a:pt x="11806797" y="360487"/>
                  <a:pt x="11806797" y="432584"/>
                </a:cubicBezTo>
                <a:cubicBezTo>
                  <a:pt x="11806797" y="528714"/>
                  <a:pt x="11762139" y="624844"/>
                  <a:pt x="11717481" y="672908"/>
                </a:cubicBezTo>
                <a:cubicBezTo>
                  <a:pt x="11650495" y="745006"/>
                  <a:pt x="11650495" y="745006"/>
                  <a:pt x="11650495" y="745006"/>
                </a:cubicBezTo>
                <a:cubicBezTo>
                  <a:pt x="11561181" y="841135"/>
                  <a:pt x="11449537" y="889200"/>
                  <a:pt x="11337893" y="889200"/>
                </a:cubicBezTo>
                <a:cubicBezTo>
                  <a:pt x="7209856" y="889200"/>
                  <a:pt x="3597824" y="889200"/>
                  <a:pt x="437295" y="889200"/>
                </a:cubicBezTo>
                <a:lnTo>
                  <a:pt x="0" y="889200"/>
                </a:lnTo>
                <a:close/>
              </a:path>
            </a:pathLst>
          </a:custGeom>
          <a:solidFill>
            <a:schemeClr val="bg1">
              <a:alpha val="7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400" smtClean="0">
                <a:solidFill>
                  <a:schemeClr val="lt1"/>
                </a:solidFill>
                <a:latin typeface="+mn-lt"/>
              </a:defRPr>
            </a:lvl1pPr>
            <a:lvl2pPr>
              <a:defRPr lang="en-US" sz="2400" smtClean="0">
                <a:solidFill>
                  <a:schemeClr val="lt1"/>
                </a:solidFill>
                <a:latin typeface="+mn-lt"/>
              </a:defRPr>
            </a:lvl2pPr>
            <a:lvl3pPr>
              <a:defRPr lang="en-US" sz="2400" smtClean="0">
                <a:solidFill>
                  <a:schemeClr val="lt1"/>
                </a:solidFill>
                <a:latin typeface="+mn-lt"/>
              </a:defRPr>
            </a:lvl3pPr>
            <a:lvl4pPr>
              <a:defRPr lang="en-US" sz="2400" smtClean="0">
                <a:solidFill>
                  <a:schemeClr val="lt1"/>
                </a:solidFill>
                <a:latin typeface="+mn-lt"/>
              </a:defRPr>
            </a:lvl4pPr>
            <a:lvl5pPr>
              <a:defRPr lang="en-GB" sz="2400">
                <a:solidFill>
                  <a:schemeClr val="lt1"/>
                </a:solidFill>
                <a:latin typeface="+mn-lt"/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0CB6F-8B6E-4991-89F5-56C8E3FF656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44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E2181-B6DF-4AD9-A36B-06E6359A0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BF0D907A-555C-421C-A8A5-2708A0DD2DC7}"/>
              </a:ext>
            </a:extLst>
          </p:cNvPr>
          <p:cNvSpPr txBox="1">
            <a:spLocks/>
          </p:cNvSpPr>
          <p:nvPr/>
        </p:nvSpPr>
        <p:spPr>
          <a:xfrm>
            <a:off x="11007437" y="6479182"/>
            <a:ext cx="849600" cy="216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18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800" kern="120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2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82875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289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Content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C295A47-352C-40F0-A5ED-89FABE09114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00400" y="0"/>
            <a:ext cx="8991600" cy="6243638"/>
          </a:xfrm>
          <a:noFill/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2914677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8722" y="1918251"/>
            <a:ext cx="2885955" cy="4207913"/>
          </a:xfrm>
        </p:spPr>
        <p:txBody>
          <a:bodyPr lIns="144000" rIns="144000" numCol="1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2pPr>
            <a:lvl3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4pPr>
            <a:lvl5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72122B6-5CB2-42B6-9428-2DF5D432B2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8402599-9EBA-44F7-BBBB-BF2B5D4F405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DBB4A7B-4945-4216-8F91-2AE3D304BC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ECD51D1-909A-4662-89F7-38DD40C3FBC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2914677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29D8038-2FB2-4D10-AFB3-129B1359364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798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s &amp; Call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10363200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7174916-A700-4E12-80B4-C03DE7FDB3CB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E654578-6E4F-4071-96B8-8B86824AEED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297E229-6664-434B-A723-353DF5A34F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E40474B-E090-443D-B60F-DCC06B17B10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C6549A2-FC82-4F5E-BEC4-050073C0A2C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74526" y="1116013"/>
            <a:ext cx="4545012" cy="24984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59C2AB5-F86E-492F-8103-CB7DD3882BA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979876" y="1116013"/>
            <a:ext cx="4545012" cy="2498400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8D853027-588C-401F-B13E-3F953EDBEA4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2299954" y="3769101"/>
            <a:ext cx="4215146" cy="2498464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523CE758-8F1C-4CD5-9C79-7F7F00B0E66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72064" y="3769101"/>
            <a:ext cx="4215146" cy="2498464"/>
          </a:xfrm>
          <a:noFill/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557384A-971D-42DD-B1B2-0E0CFA6600C6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>
            <a:off x="8302507" y="595829"/>
            <a:ext cx="3690000" cy="36900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>
            <a:lvl1pPr marL="0" algn="ctr">
              <a:lnSpc>
                <a:spcPct val="100000"/>
              </a:lnSpc>
              <a:defRPr lang="en-US" sz="1600" b="1" dirty="0" smtClean="0">
                <a:solidFill>
                  <a:schemeClr val="lt1"/>
                </a:solidFill>
              </a:defRPr>
            </a:lvl1pPr>
            <a:lvl2pPr marL="0" algn="ctr">
              <a:lnSpc>
                <a:spcPct val="100000"/>
              </a:lnSpc>
              <a:defRPr lang="en-US" sz="1600" b="1" dirty="0" smtClean="0">
                <a:solidFill>
                  <a:schemeClr val="lt1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1600" b="1" dirty="0" smtClean="0">
                <a:solidFill>
                  <a:schemeClr val="lt1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1600" dirty="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389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D5398D4-E807-4864-A6AC-FC872E48DBD1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>
            <a:off x="3510815" y="3529694"/>
            <a:ext cx="2948400" cy="29484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rgbClr val="F7AC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>
            <a:lvl1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</a:defRPr>
            </a:lvl1pPr>
            <a:lvl2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1600" dirty="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5CB1C88-FB47-462F-AD44-449C31AD56B1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5929830" y="2142055"/>
            <a:ext cx="2948400" cy="29484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rgbClr val="EF4D8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>
            <a:lvl1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</a:defRPr>
            </a:lvl1pPr>
            <a:lvl2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1600" dirty="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8133534-96C1-4F42-A6F2-0589309619AD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8352437" y="756213"/>
            <a:ext cx="2948400" cy="29484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>
            <a:lvl1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</a:defRPr>
            </a:lvl1pPr>
            <a:lvl2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1800" b="1" dirty="0" smtClean="0">
                <a:solidFill>
                  <a:schemeClr val="lt1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1600" dirty="0" smtClean="0">
                <a:solidFill>
                  <a:schemeClr val="lt1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1600" dirty="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8722" y="1918251"/>
            <a:ext cx="4259653" cy="4207913"/>
          </a:xfrm>
        </p:spPr>
        <p:txBody>
          <a:bodyPr lIns="144000" rIns="144000" numCol="1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2pPr>
            <a:lvl3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4pPr>
            <a:lvl5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72122B6-5CB2-42B6-9428-2DF5D432B2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8402599-9EBA-44F7-BBBB-BF2B5D4F405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DBB4A7B-4945-4216-8F91-2AE3D304BC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7653291-A14D-46DD-90E1-9872BB608E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44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35F35E-B5AA-4B1B-B9BA-FEF52D657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50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A30338F-F2DB-48A2-A54D-08F0329F5D4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algn="l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321CD9C-3B4F-452A-9458-E7FC16BDDA9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007437" y="6479182"/>
            <a:ext cx="849600" cy="21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AA506DF-418E-40C3-9305-3D81D31947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4399" y="5718686"/>
            <a:ext cx="6418385" cy="531891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te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50B826F-7AEA-4856-BEA4-EAF1D539B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434570"/>
            <a:ext cx="8338932" cy="2246400"/>
          </a:xfrm>
          <a:custGeom>
            <a:avLst/>
            <a:gdLst>
              <a:gd name="connsiteX0" fmla="*/ 0 w 8338932"/>
              <a:gd name="connsiteY0" fmla="*/ 0 h 2246400"/>
              <a:gd name="connsiteX1" fmla="*/ 215069 w 8338932"/>
              <a:gd name="connsiteY1" fmla="*/ 0 h 2246400"/>
              <a:gd name="connsiteX2" fmla="*/ 7084463 w 8338932"/>
              <a:gd name="connsiteY2" fmla="*/ 0 h 2246400"/>
              <a:gd name="connsiteX3" fmla="*/ 7947753 w 8338932"/>
              <a:gd name="connsiteY3" fmla="*/ 383532 h 2246400"/>
              <a:gd name="connsiteX4" fmla="*/ 8109620 w 8338932"/>
              <a:gd name="connsiteY4" fmla="*/ 547903 h 2246400"/>
              <a:gd name="connsiteX5" fmla="*/ 8338932 w 8338932"/>
              <a:gd name="connsiteY5" fmla="*/ 1123200 h 2246400"/>
              <a:gd name="connsiteX6" fmla="*/ 8109620 w 8338932"/>
              <a:gd name="connsiteY6" fmla="*/ 1712195 h 2246400"/>
              <a:gd name="connsiteX7" fmla="*/ 7947753 w 8338932"/>
              <a:gd name="connsiteY7" fmla="*/ 1876566 h 2246400"/>
              <a:gd name="connsiteX8" fmla="*/ 7084463 w 8338932"/>
              <a:gd name="connsiteY8" fmla="*/ 2246400 h 2246400"/>
              <a:gd name="connsiteX9" fmla="*/ 0 w 8338932"/>
              <a:gd name="connsiteY9" fmla="*/ 2246400 h 22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38932" h="2246400">
                <a:moveTo>
                  <a:pt x="0" y="0"/>
                </a:moveTo>
                <a:lnTo>
                  <a:pt x="215069" y="0"/>
                </a:lnTo>
                <a:cubicBezTo>
                  <a:pt x="7084463" y="0"/>
                  <a:pt x="7084463" y="0"/>
                  <a:pt x="7084463" y="0"/>
                </a:cubicBezTo>
                <a:cubicBezTo>
                  <a:pt x="7408197" y="0"/>
                  <a:pt x="7704953" y="136976"/>
                  <a:pt x="7947753" y="383532"/>
                </a:cubicBezTo>
                <a:cubicBezTo>
                  <a:pt x="8109620" y="547903"/>
                  <a:pt x="8109620" y="547903"/>
                  <a:pt x="8109620" y="547903"/>
                </a:cubicBezTo>
                <a:cubicBezTo>
                  <a:pt x="8257998" y="698576"/>
                  <a:pt x="8338932" y="904039"/>
                  <a:pt x="8338932" y="1123200"/>
                </a:cubicBezTo>
                <a:cubicBezTo>
                  <a:pt x="8338932" y="1356059"/>
                  <a:pt x="8257998" y="1561522"/>
                  <a:pt x="8109620" y="1712195"/>
                </a:cubicBezTo>
                <a:cubicBezTo>
                  <a:pt x="7947753" y="1876566"/>
                  <a:pt x="7947753" y="1876566"/>
                  <a:pt x="7947753" y="1876566"/>
                </a:cubicBezTo>
                <a:cubicBezTo>
                  <a:pt x="7704953" y="2123122"/>
                  <a:pt x="7408197" y="2246400"/>
                  <a:pt x="7084463" y="2246400"/>
                </a:cubicBezTo>
                <a:lnTo>
                  <a:pt x="0" y="2246400"/>
                </a:lnTo>
                <a:close/>
              </a:path>
            </a:pathLst>
          </a:custGeom>
          <a:solidFill>
            <a:schemeClr val="bg1">
              <a:alpha val="69000"/>
            </a:schemeClr>
          </a:solidFill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</p:spPr>
        <p:txBody>
          <a:bodyPr wrap="square" lIns="1004400" rIns="576000" anchor="ctr" anchorCtr="0">
            <a:no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Presentation </a:t>
            </a:r>
            <a:br>
              <a:rPr lang="en-US"/>
            </a:br>
            <a:r>
              <a:rPr lang="en-US"/>
              <a:t>Title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5D1F3D9-B6F5-4BA0-8E7C-FE01ADF2B85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87276" y="110416"/>
            <a:ext cx="1699200" cy="10584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753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Subtitle, Image &amp;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153E1EB-B549-4A35-B1BC-B8867850509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2642" y="1926850"/>
            <a:ext cx="3498331" cy="3498329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US" sz="20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000" y="144000"/>
            <a:ext cx="10363200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5B811B8-C6F4-4AEF-A782-45F2D7B120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7011" y="1918800"/>
            <a:ext cx="6897276" cy="4183897"/>
          </a:xfrm>
        </p:spPr>
        <p:txBody>
          <a:bodyPr>
            <a:noAutofit/>
          </a:bodyPr>
          <a:lstStyle>
            <a:lvl1pPr algn="l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</a:t>
            </a:r>
            <a:r>
              <a:rPr lang="en-US"/>
              <a:t> 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</a:t>
            </a:r>
            <a:r>
              <a:rPr lang="en-US"/>
              <a:t> 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.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</a:t>
            </a:r>
            <a:r>
              <a:rPr lang="en-US"/>
              <a:t>  </a:t>
            </a:r>
            <a:r>
              <a:rPr lang="en-US" err="1"/>
              <a:t>c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7174916-A700-4E12-80B4-C03DE7FDB3CB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E654578-6E4F-4071-96B8-8B86824AEED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297E229-6664-434B-A723-353DF5A34F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ECE8CE-E734-45F9-84CF-10468FD8CD0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070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Subtitle,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8722" y="1918251"/>
            <a:ext cx="3699371" cy="4207913"/>
          </a:xfrm>
        </p:spPr>
        <p:txBody>
          <a:bodyPr lIns="144000" rIns="14400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2pPr>
            <a:lvl3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4pPr>
            <a:lvl5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.</a:t>
            </a:r>
          </a:p>
          <a:p>
            <a:pPr lvl="0"/>
            <a:endParaRPr lang="en-GB"/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.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72122B6-5CB2-42B6-9428-2DF5D432B2C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8402599-9EBA-44F7-BBBB-BF2B5D4F405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/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DBB4A7B-4945-4216-8F91-2AE3D304BC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B0518C2-79A9-4383-96AE-76D6AE8D56C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000" y="512204"/>
            <a:ext cx="10363200" cy="468000"/>
          </a:xfrm>
        </p:spPr>
        <p:txBody>
          <a:bodyPr anchor="t">
            <a:noAutofit/>
          </a:bodyPr>
          <a:lstStyle>
            <a:lvl1pPr marL="0" indent="0" algn="l">
              <a:buNone/>
              <a:defRPr sz="2200">
                <a:solidFill>
                  <a:schemeClr val="accent2"/>
                </a:solidFill>
                <a:latin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B91A2D-C21E-4E1E-9E15-0BF4BF029049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5697778" y="362601"/>
            <a:ext cx="3301202" cy="33012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US" sz="16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9434529-3CFD-4308-BFEB-DC5F83A5A0A4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8464529" y="1916879"/>
            <a:ext cx="2955602" cy="29556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US" sz="16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2F89A02-C814-4460-AFB0-E206A5CBCBFA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6702914" y="3802331"/>
            <a:ext cx="2642402" cy="26424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US" sz="14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  <a:endParaRPr lang="en-GB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A2A458A-7DA4-4761-9679-BC4BBEDEBDA7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>
            <a:off x="3968293" y="2568374"/>
            <a:ext cx="2955602" cy="2955600"/>
          </a:xfrm>
          <a:custGeom>
            <a:avLst/>
            <a:gdLst>
              <a:gd name="connsiteX0" fmla="*/ 1473269 w 2946555"/>
              <a:gd name="connsiteY0" fmla="*/ 0 h 2946553"/>
              <a:gd name="connsiteX1" fmla="*/ 1508818 w 2946555"/>
              <a:gd name="connsiteY1" fmla="*/ 1499 h 2946553"/>
              <a:gd name="connsiteX2" fmla="*/ 1544154 w 2946555"/>
              <a:gd name="connsiteY2" fmla="*/ 5998 h 2946553"/>
              <a:gd name="connsiteX3" fmla="*/ 1579067 w 2946555"/>
              <a:gd name="connsiteY3" fmla="*/ 13496 h 2946553"/>
              <a:gd name="connsiteX4" fmla="*/ 1613343 w 2946555"/>
              <a:gd name="connsiteY4" fmla="*/ 23994 h 2946553"/>
              <a:gd name="connsiteX5" fmla="*/ 1646772 w 2946555"/>
              <a:gd name="connsiteY5" fmla="*/ 37490 h 2946553"/>
              <a:gd name="connsiteX6" fmla="*/ 1679140 w 2946555"/>
              <a:gd name="connsiteY6" fmla="*/ 53985 h 2946553"/>
              <a:gd name="connsiteX7" fmla="*/ 1710237 w 2946555"/>
              <a:gd name="connsiteY7" fmla="*/ 73480 h 2946553"/>
              <a:gd name="connsiteX8" fmla="*/ 1739849 w 2946555"/>
              <a:gd name="connsiteY8" fmla="*/ 95974 h 2946553"/>
              <a:gd name="connsiteX9" fmla="*/ 1767766 w 2946555"/>
              <a:gd name="connsiteY9" fmla="*/ 121467 h 2946553"/>
              <a:gd name="connsiteX10" fmla="*/ 2825071 w 2946555"/>
              <a:gd name="connsiteY10" fmla="*/ 1178765 h 2946553"/>
              <a:gd name="connsiteX11" fmla="*/ 2848153 w 2946555"/>
              <a:gd name="connsiteY11" fmla="*/ 1203809 h 2946553"/>
              <a:gd name="connsiteX12" fmla="*/ 2868805 w 2946555"/>
              <a:gd name="connsiteY12" fmla="*/ 1230245 h 2946553"/>
              <a:gd name="connsiteX13" fmla="*/ 2887028 w 2946555"/>
              <a:gd name="connsiteY13" fmla="*/ 1257917 h 2946553"/>
              <a:gd name="connsiteX14" fmla="*/ 2902821 w 2946555"/>
              <a:gd name="connsiteY14" fmla="*/ 1286671 h 2946553"/>
              <a:gd name="connsiteX15" fmla="*/ 2916184 w 2946555"/>
              <a:gd name="connsiteY15" fmla="*/ 1316353 h 2946553"/>
              <a:gd name="connsiteX16" fmla="*/ 2927118 w 2946555"/>
              <a:gd name="connsiteY16" fmla="*/ 1346808 h 2946553"/>
              <a:gd name="connsiteX17" fmla="*/ 2935622 w 2946555"/>
              <a:gd name="connsiteY17" fmla="*/ 1377881 h 2946553"/>
              <a:gd name="connsiteX18" fmla="*/ 2941696 w 2946555"/>
              <a:gd name="connsiteY18" fmla="*/ 1409418 h 2946553"/>
              <a:gd name="connsiteX19" fmla="*/ 2945341 w 2946555"/>
              <a:gd name="connsiteY19" fmla="*/ 1441265 h 2946553"/>
              <a:gd name="connsiteX20" fmla="*/ 2946555 w 2946555"/>
              <a:gd name="connsiteY20" fmla="*/ 1473265 h 2946553"/>
              <a:gd name="connsiteX21" fmla="*/ 2945341 w 2946555"/>
              <a:gd name="connsiteY21" fmla="*/ 1505267 h 2946553"/>
              <a:gd name="connsiteX22" fmla="*/ 2941696 w 2946555"/>
              <a:gd name="connsiteY22" fmla="*/ 1537113 h 2946553"/>
              <a:gd name="connsiteX23" fmla="*/ 2935622 w 2946555"/>
              <a:gd name="connsiteY23" fmla="*/ 1568650 h 2946553"/>
              <a:gd name="connsiteX24" fmla="*/ 2927118 w 2946555"/>
              <a:gd name="connsiteY24" fmla="*/ 1599723 h 2946553"/>
              <a:gd name="connsiteX25" fmla="*/ 2916184 w 2946555"/>
              <a:gd name="connsiteY25" fmla="*/ 1630178 h 2946553"/>
              <a:gd name="connsiteX26" fmla="*/ 2902821 w 2946555"/>
              <a:gd name="connsiteY26" fmla="*/ 1659860 h 2946553"/>
              <a:gd name="connsiteX27" fmla="*/ 2887028 w 2946555"/>
              <a:gd name="connsiteY27" fmla="*/ 1688614 h 2946553"/>
              <a:gd name="connsiteX28" fmla="*/ 2868805 w 2946555"/>
              <a:gd name="connsiteY28" fmla="*/ 1716286 h 2946553"/>
              <a:gd name="connsiteX29" fmla="*/ 2848153 w 2946555"/>
              <a:gd name="connsiteY29" fmla="*/ 1742721 h 2946553"/>
              <a:gd name="connsiteX30" fmla="*/ 2825071 w 2946555"/>
              <a:gd name="connsiteY30" fmla="*/ 1767766 h 2946553"/>
              <a:gd name="connsiteX31" fmla="*/ 1767766 w 2946555"/>
              <a:gd name="connsiteY31" fmla="*/ 2825064 h 2946553"/>
              <a:gd name="connsiteX32" fmla="*/ 1739849 w 2946555"/>
              <a:gd name="connsiteY32" fmla="*/ 2850561 h 2946553"/>
              <a:gd name="connsiteX33" fmla="*/ 1710237 w 2946555"/>
              <a:gd name="connsiteY33" fmla="*/ 2873060 h 2946553"/>
              <a:gd name="connsiteX34" fmla="*/ 1679140 w 2946555"/>
              <a:gd name="connsiteY34" fmla="*/ 2892558 h 2946553"/>
              <a:gd name="connsiteX35" fmla="*/ 1646772 w 2946555"/>
              <a:gd name="connsiteY35" fmla="*/ 2909057 h 2946553"/>
              <a:gd name="connsiteX36" fmla="*/ 1613343 w 2946555"/>
              <a:gd name="connsiteY36" fmla="*/ 2922555 h 2946553"/>
              <a:gd name="connsiteX37" fmla="*/ 1579067 w 2946555"/>
              <a:gd name="connsiteY37" fmla="*/ 2933054 h 2946553"/>
              <a:gd name="connsiteX38" fmla="*/ 1544154 w 2946555"/>
              <a:gd name="connsiteY38" fmla="*/ 2940554 h 2946553"/>
              <a:gd name="connsiteX39" fmla="*/ 1508818 w 2946555"/>
              <a:gd name="connsiteY39" fmla="*/ 2945054 h 2946553"/>
              <a:gd name="connsiteX40" fmla="*/ 1473269 w 2946555"/>
              <a:gd name="connsiteY40" fmla="*/ 2946553 h 2946553"/>
              <a:gd name="connsiteX41" fmla="*/ 1437721 w 2946555"/>
              <a:gd name="connsiteY41" fmla="*/ 2945054 h 2946553"/>
              <a:gd name="connsiteX42" fmla="*/ 1402384 w 2946555"/>
              <a:gd name="connsiteY42" fmla="*/ 2940554 h 2946553"/>
              <a:gd name="connsiteX43" fmla="*/ 1367472 w 2946555"/>
              <a:gd name="connsiteY43" fmla="*/ 2933054 h 2946553"/>
              <a:gd name="connsiteX44" fmla="*/ 1333194 w 2946555"/>
              <a:gd name="connsiteY44" fmla="*/ 2922555 h 2946553"/>
              <a:gd name="connsiteX45" fmla="*/ 1299765 w 2946555"/>
              <a:gd name="connsiteY45" fmla="*/ 2909057 h 2946553"/>
              <a:gd name="connsiteX46" fmla="*/ 1267396 w 2946555"/>
              <a:gd name="connsiteY46" fmla="*/ 2892558 h 2946553"/>
              <a:gd name="connsiteX47" fmla="*/ 1236298 w 2946555"/>
              <a:gd name="connsiteY47" fmla="*/ 2873060 h 2946553"/>
              <a:gd name="connsiteX48" fmla="*/ 1206684 w 2946555"/>
              <a:gd name="connsiteY48" fmla="*/ 2850561 h 2946553"/>
              <a:gd name="connsiteX49" fmla="*/ 1178765 w 2946555"/>
              <a:gd name="connsiteY49" fmla="*/ 2825064 h 2946553"/>
              <a:gd name="connsiteX50" fmla="*/ 121467 w 2946555"/>
              <a:gd name="connsiteY50" fmla="*/ 1767766 h 2946553"/>
              <a:gd name="connsiteX51" fmla="*/ 98388 w 2946555"/>
              <a:gd name="connsiteY51" fmla="*/ 1742721 h 2946553"/>
              <a:gd name="connsiteX52" fmla="*/ 77739 w 2946555"/>
              <a:gd name="connsiteY52" fmla="*/ 1716286 h 2946553"/>
              <a:gd name="connsiteX53" fmla="*/ 59519 w 2946555"/>
              <a:gd name="connsiteY53" fmla="*/ 1688614 h 2946553"/>
              <a:gd name="connsiteX54" fmla="*/ 43728 w 2946555"/>
              <a:gd name="connsiteY54" fmla="*/ 1659860 h 2946553"/>
              <a:gd name="connsiteX55" fmla="*/ 30367 w 2946555"/>
              <a:gd name="connsiteY55" fmla="*/ 1630178 h 2946553"/>
              <a:gd name="connsiteX56" fmla="*/ 19434 w 2946555"/>
              <a:gd name="connsiteY56" fmla="*/ 1599723 h 2946553"/>
              <a:gd name="connsiteX57" fmla="*/ 10932 w 2946555"/>
              <a:gd name="connsiteY57" fmla="*/ 1568650 h 2946553"/>
              <a:gd name="connsiteX58" fmla="*/ 4858 w 2946555"/>
              <a:gd name="connsiteY58" fmla="*/ 1537113 h 2946553"/>
              <a:gd name="connsiteX59" fmla="*/ 1214 w 2946555"/>
              <a:gd name="connsiteY59" fmla="*/ 1505267 h 2946553"/>
              <a:gd name="connsiteX60" fmla="*/ 0 w 2946555"/>
              <a:gd name="connsiteY60" fmla="*/ 1473265 h 2946553"/>
              <a:gd name="connsiteX61" fmla="*/ 1214 w 2946555"/>
              <a:gd name="connsiteY61" fmla="*/ 1441265 h 2946553"/>
              <a:gd name="connsiteX62" fmla="*/ 4858 w 2946555"/>
              <a:gd name="connsiteY62" fmla="*/ 1409418 h 2946553"/>
              <a:gd name="connsiteX63" fmla="*/ 10932 w 2946555"/>
              <a:gd name="connsiteY63" fmla="*/ 1377881 h 2946553"/>
              <a:gd name="connsiteX64" fmla="*/ 19434 w 2946555"/>
              <a:gd name="connsiteY64" fmla="*/ 1346808 h 2946553"/>
              <a:gd name="connsiteX65" fmla="*/ 30367 w 2946555"/>
              <a:gd name="connsiteY65" fmla="*/ 1316353 h 2946553"/>
              <a:gd name="connsiteX66" fmla="*/ 43728 w 2946555"/>
              <a:gd name="connsiteY66" fmla="*/ 1286671 h 2946553"/>
              <a:gd name="connsiteX67" fmla="*/ 59519 w 2946555"/>
              <a:gd name="connsiteY67" fmla="*/ 1257917 h 2946553"/>
              <a:gd name="connsiteX68" fmla="*/ 77739 w 2946555"/>
              <a:gd name="connsiteY68" fmla="*/ 1230245 h 2946553"/>
              <a:gd name="connsiteX69" fmla="*/ 98388 w 2946555"/>
              <a:gd name="connsiteY69" fmla="*/ 1203809 h 2946553"/>
              <a:gd name="connsiteX70" fmla="*/ 121467 w 2946555"/>
              <a:gd name="connsiteY70" fmla="*/ 1178765 h 2946553"/>
              <a:gd name="connsiteX71" fmla="*/ 1178765 w 2946555"/>
              <a:gd name="connsiteY71" fmla="*/ 121467 h 2946553"/>
              <a:gd name="connsiteX72" fmla="*/ 1206684 w 2946555"/>
              <a:gd name="connsiteY72" fmla="*/ 95974 h 2946553"/>
              <a:gd name="connsiteX73" fmla="*/ 1236298 w 2946555"/>
              <a:gd name="connsiteY73" fmla="*/ 73480 h 2946553"/>
              <a:gd name="connsiteX74" fmla="*/ 1267396 w 2946555"/>
              <a:gd name="connsiteY74" fmla="*/ 53985 h 2946553"/>
              <a:gd name="connsiteX75" fmla="*/ 1299765 w 2946555"/>
              <a:gd name="connsiteY75" fmla="*/ 37490 h 2946553"/>
              <a:gd name="connsiteX76" fmla="*/ 1333194 w 2946555"/>
              <a:gd name="connsiteY76" fmla="*/ 23994 h 2946553"/>
              <a:gd name="connsiteX77" fmla="*/ 1367472 w 2946555"/>
              <a:gd name="connsiteY77" fmla="*/ 13496 h 2946553"/>
              <a:gd name="connsiteX78" fmla="*/ 1402384 w 2946555"/>
              <a:gd name="connsiteY78" fmla="*/ 5998 h 2946553"/>
              <a:gd name="connsiteX79" fmla="*/ 1437721 w 2946555"/>
              <a:gd name="connsiteY79" fmla="*/ 1499 h 294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946555" h="2946553">
                <a:moveTo>
                  <a:pt x="1473269" y="0"/>
                </a:moveTo>
                <a:lnTo>
                  <a:pt x="1508818" y="1499"/>
                </a:lnTo>
                <a:lnTo>
                  <a:pt x="1544154" y="5998"/>
                </a:lnTo>
                <a:lnTo>
                  <a:pt x="1579067" y="13496"/>
                </a:lnTo>
                <a:lnTo>
                  <a:pt x="1613343" y="23994"/>
                </a:lnTo>
                <a:lnTo>
                  <a:pt x="1646772" y="37490"/>
                </a:lnTo>
                <a:lnTo>
                  <a:pt x="1679140" y="53985"/>
                </a:lnTo>
                <a:lnTo>
                  <a:pt x="1710237" y="73480"/>
                </a:lnTo>
                <a:lnTo>
                  <a:pt x="1739849" y="95974"/>
                </a:lnTo>
                <a:lnTo>
                  <a:pt x="1767766" y="121467"/>
                </a:lnTo>
                <a:lnTo>
                  <a:pt x="2825071" y="1178765"/>
                </a:lnTo>
                <a:lnTo>
                  <a:pt x="2848153" y="1203809"/>
                </a:lnTo>
                <a:lnTo>
                  <a:pt x="2868805" y="1230245"/>
                </a:lnTo>
                <a:lnTo>
                  <a:pt x="2887028" y="1257917"/>
                </a:lnTo>
                <a:lnTo>
                  <a:pt x="2902821" y="1286671"/>
                </a:lnTo>
                <a:lnTo>
                  <a:pt x="2916184" y="1316353"/>
                </a:lnTo>
                <a:lnTo>
                  <a:pt x="2927118" y="1346808"/>
                </a:lnTo>
                <a:lnTo>
                  <a:pt x="2935622" y="1377881"/>
                </a:lnTo>
                <a:lnTo>
                  <a:pt x="2941696" y="1409418"/>
                </a:lnTo>
                <a:lnTo>
                  <a:pt x="2945341" y="1441265"/>
                </a:lnTo>
                <a:lnTo>
                  <a:pt x="2946555" y="1473265"/>
                </a:lnTo>
                <a:lnTo>
                  <a:pt x="2945341" y="1505267"/>
                </a:lnTo>
                <a:lnTo>
                  <a:pt x="2941696" y="1537113"/>
                </a:lnTo>
                <a:lnTo>
                  <a:pt x="2935622" y="1568650"/>
                </a:lnTo>
                <a:lnTo>
                  <a:pt x="2927118" y="1599723"/>
                </a:lnTo>
                <a:lnTo>
                  <a:pt x="2916184" y="1630178"/>
                </a:lnTo>
                <a:lnTo>
                  <a:pt x="2902821" y="1659860"/>
                </a:lnTo>
                <a:lnTo>
                  <a:pt x="2887028" y="1688614"/>
                </a:lnTo>
                <a:lnTo>
                  <a:pt x="2868805" y="1716286"/>
                </a:lnTo>
                <a:lnTo>
                  <a:pt x="2848153" y="1742721"/>
                </a:lnTo>
                <a:lnTo>
                  <a:pt x="2825071" y="1767766"/>
                </a:lnTo>
                <a:lnTo>
                  <a:pt x="1767766" y="2825064"/>
                </a:lnTo>
                <a:lnTo>
                  <a:pt x="1739849" y="2850561"/>
                </a:lnTo>
                <a:lnTo>
                  <a:pt x="1710237" y="2873060"/>
                </a:lnTo>
                <a:lnTo>
                  <a:pt x="1679140" y="2892558"/>
                </a:lnTo>
                <a:lnTo>
                  <a:pt x="1646772" y="2909057"/>
                </a:lnTo>
                <a:lnTo>
                  <a:pt x="1613343" y="2922555"/>
                </a:lnTo>
                <a:lnTo>
                  <a:pt x="1579067" y="2933054"/>
                </a:lnTo>
                <a:lnTo>
                  <a:pt x="1544154" y="2940554"/>
                </a:lnTo>
                <a:lnTo>
                  <a:pt x="1508818" y="2945054"/>
                </a:lnTo>
                <a:lnTo>
                  <a:pt x="1473269" y="2946553"/>
                </a:lnTo>
                <a:lnTo>
                  <a:pt x="1437721" y="2945054"/>
                </a:lnTo>
                <a:lnTo>
                  <a:pt x="1402384" y="2940554"/>
                </a:lnTo>
                <a:lnTo>
                  <a:pt x="1367472" y="2933054"/>
                </a:lnTo>
                <a:lnTo>
                  <a:pt x="1333194" y="2922555"/>
                </a:lnTo>
                <a:lnTo>
                  <a:pt x="1299765" y="2909057"/>
                </a:lnTo>
                <a:lnTo>
                  <a:pt x="1267396" y="2892558"/>
                </a:lnTo>
                <a:lnTo>
                  <a:pt x="1236298" y="2873060"/>
                </a:lnTo>
                <a:lnTo>
                  <a:pt x="1206684" y="2850561"/>
                </a:lnTo>
                <a:lnTo>
                  <a:pt x="1178765" y="2825064"/>
                </a:lnTo>
                <a:lnTo>
                  <a:pt x="121467" y="1767766"/>
                </a:lnTo>
                <a:lnTo>
                  <a:pt x="98388" y="1742721"/>
                </a:lnTo>
                <a:lnTo>
                  <a:pt x="77739" y="1716286"/>
                </a:lnTo>
                <a:lnTo>
                  <a:pt x="59519" y="1688614"/>
                </a:lnTo>
                <a:lnTo>
                  <a:pt x="43728" y="1659860"/>
                </a:lnTo>
                <a:lnTo>
                  <a:pt x="30367" y="1630178"/>
                </a:lnTo>
                <a:lnTo>
                  <a:pt x="19434" y="1599723"/>
                </a:lnTo>
                <a:lnTo>
                  <a:pt x="10932" y="1568650"/>
                </a:lnTo>
                <a:lnTo>
                  <a:pt x="4858" y="1537113"/>
                </a:lnTo>
                <a:lnTo>
                  <a:pt x="1214" y="1505267"/>
                </a:lnTo>
                <a:lnTo>
                  <a:pt x="0" y="1473265"/>
                </a:lnTo>
                <a:lnTo>
                  <a:pt x="1214" y="1441265"/>
                </a:lnTo>
                <a:lnTo>
                  <a:pt x="4858" y="1409418"/>
                </a:lnTo>
                <a:lnTo>
                  <a:pt x="10932" y="1377881"/>
                </a:lnTo>
                <a:lnTo>
                  <a:pt x="19434" y="1346808"/>
                </a:lnTo>
                <a:lnTo>
                  <a:pt x="30367" y="1316353"/>
                </a:lnTo>
                <a:lnTo>
                  <a:pt x="43728" y="1286671"/>
                </a:lnTo>
                <a:lnTo>
                  <a:pt x="59519" y="1257917"/>
                </a:lnTo>
                <a:lnTo>
                  <a:pt x="77739" y="1230245"/>
                </a:lnTo>
                <a:lnTo>
                  <a:pt x="98388" y="1203809"/>
                </a:lnTo>
                <a:lnTo>
                  <a:pt x="121467" y="1178765"/>
                </a:lnTo>
                <a:lnTo>
                  <a:pt x="1178765" y="121467"/>
                </a:lnTo>
                <a:lnTo>
                  <a:pt x="1206684" y="95974"/>
                </a:lnTo>
                <a:lnTo>
                  <a:pt x="1236298" y="73480"/>
                </a:lnTo>
                <a:lnTo>
                  <a:pt x="1267396" y="53985"/>
                </a:lnTo>
                <a:lnTo>
                  <a:pt x="1299765" y="37490"/>
                </a:lnTo>
                <a:lnTo>
                  <a:pt x="1333194" y="23994"/>
                </a:lnTo>
                <a:lnTo>
                  <a:pt x="1367472" y="13496"/>
                </a:lnTo>
                <a:lnTo>
                  <a:pt x="1402384" y="5998"/>
                </a:lnTo>
                <a:lnTo>
                  <a:pt x="1437721" y="1499"/>
                </a:lnTo>
                <a:close/>
              </a:path>
            </a:pathLst>
          </a:custGeom>
          <a:noFill/>
          <a:ln w="28575">
            <a:solidFill>
              <a:schemeClr val="accent5"/>
            </a:solidFill>
          </a:ln>
        </p:spPr>
        <p:txBody>
          <a:bodyPr vert="horz" wrap="square" lIns="360000" tIns="0" rIns="360000" bIns="0" rtlCol="0" anchor="ctr" anchorCtr="0">
            <a:noAutofit/>
          </a:bodyPr>
          <a:lstStyle>
            <a:lvl1pPr algn="ctr">
              <a:defRPr lang="en-US" sz="1600" b="1" smtClean="0">
                <a:solidFill>
                  <a:schemeClr val="accent2"/>
                </a:solidFill>
                <a:latin typeface="Calibri"/>
              </a:defRPr>
            </a:lvl1pPr>
            <a:lvl2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2pPr>
            <a:lvl3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3pPr>
            <a:lvl4pPr marL="0" algn="ctr">
              <a:lnSpc>
                <a:spcPct val="100000"/>
              </a:lnSpc>
              <a:defRPr lang="en-US" sz="2000" b="1" smtClean="0">
                <a:solidFill>
                  <a:schemeClr val="accent2"/>
                </a:solidFill>
                <a:latin typeface="+mn-lt"/>
              </a:defRPr>
            </a:lvl4pPr>
            <a:lvl5pPr marL="0" algn="ctr">
              <a:lnSpc>
                <a:spcPct val="100000"/>
              </a:lnSpc>
              <a:defRPr lang="en-GB" sz="2000" b="1">
                <a:solidFill>
                  <a:schemeClr val="accent2"/>
                </a:solidFill>
                <a:latin typeface="+mn-lt"/>
              </a:defRPr>
            </a:lvl5pPr>
          </a:lstStyle>
          <a:p>
            <a:pPr lvl="0" defTabSz="1219170"/>
            <a:r>
              <a:rPr lang="en-US"/>
              <a:t>Click to edit text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7D9328-6B09-42EE-9150-7B2CCEE7F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489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2553709-0727-4391-B507-757D67EE2B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3083" y="2202960"/>
            <a:ext cx="11545834" cy="1470025"/>
          </a:xfrm>
          <a:effectLst>
            <a:outerShdw blurRad="127000" dist="88900" dir="2700000" algn="tl" rotWithShape="0">
              <a:srgbClr val="430506">
                <a:alpha val="40000"/>
              </a:srgbClr>
            </a:outerShdw>
          </a:effectLst>
        </p:spPr>
        <p:txBody>
          <a:bodyPr anchor="ctr">
            <a:noAutofit/>
          </a:bodyPr>
          <a:lstStyle>
            <a:lvl1pPr algn="ctr">
              <a:defRPr sz="11500" b="1">
                <a:solidFill>
                  <a:schemeClr val="bg1"/>
                </a:solidFill>
                <a:latin typeface="Expressive V" panose="03060602030405030205" pitchFamily="66" charset="0"/>
                <a:cs typeface="Expressive V" panose="03060602030405030205" pitchFamily="66" charset="0"/>
              </a:defRPr>
            </a:lvl1pPr>
          </a:lstStyle>
          <a:p>
            <a:r>
              <a:rPr lang="en-GB"/>
              <a:t>statem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34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354B5F8-D134-4955-AACB-00351A427DBF}"/>
              </a:ext>
            </a:extLst>
          </p:cNvPr>
          <p:cNvSpPr txBox="1">
            <a:spLocks/>
          </p:cNvSpPr>
          <p:nvPr userDrawn="1"/>
        </p:nvSpPr>
        <p:spPr>
          <a:xfrm>
            <a:off x="446619" y="1292052"/>
            <a:ext cx="10065873" cy="32118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marR="0" lvl="0" indent="-355591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4350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vertical magent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5013" y="6257393"/>
            <a:ext cx="1259689" cy="343651"/>
          </a:xfrm>
          <a:prstGeom prst="rect">
            <a:avLst/>
          </a:prstGeom>
        </p:spPr>
      </p:pic>
      <p:sp>
        <p:nvSpPr>
          <p:cNvPr id="4" name="Rektangel 3"/>
          <p:cNvSpPr/>
          <p:nvPr userDrawn="1"/>
        </p:nvSpPr>
        <p:spPr>
          <a:xfrm>
            <a:off x="0" y="0"/>
            <a:ext cx="7994822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bg2"/>
              </a:solidFill>
            </a:endParaRPr>
          </a:p>
        </p:txBody>
      </p:sp>
      <p:sp>
        <p:nvSpPr>
          <p:cNvPr id="14" name="Platshållare för bild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878"/>
            <a:ext cx="7991476" cy="6858000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344292" y="276225"/>
            <a:ext cx="6932612" cy="249555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2" y="3049588"/>
            <a:ext cx="693261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-2829522" y="382055"/>
            <a:ext cx="2512620" cy="48191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 or leave background magenta. 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using image, make sure white text is clearly visible on the image or use dark blue or magenta text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</a:t>
            </a:r>
            <a:r>
              <a:rPr lang="en-US" b="1">
                <a:solidFill>
                  <a:schemeClr val="tx2"/>
                </a:solidFill>
              </a:rPr>
              <a:t>not</a:t>
            </a:r>
            <a:r>
              <a:rPr lang="en-US">
                <a:solidFill>
                  <a:schemeClr val="tx2"/>
                </a:solidFill>
              </a:rPr>
              <a:t> using image, text can be white or blue.</a:t>
            </a:r>
          </a:p>
        </p:txBody>
      </p:sp>
    </p:spTree>
    <p:extLst>
      <p:ext uri="{BB962C8B-B14F-4D97-AF65-F5344CB8AC3E}">
        <p14:creationId xmlns:p14="http://schemas.microsoft.com/office/powerpoint/2010/main" val="54210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vertic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799482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bg2"/>
              </a:solidFill>
            </a:endParaRPr>
          </a:p>
        </p:txBody>
      </p:sp>
      <p:sp>
        <p:nvSpPr>
          <p:cNvPr id="14" name="Platshållare för bild 9"/>
          <p:cNvSpPr>
            <a:spLocks noGrp="1"/>
          </p:cNvSpPr>
          <p:nvPr>
            <p:ph type="pic" sz="quarter" idx="13" hasCustomPrompt="1"/>
          </p:nvPr>
        </p:nvSpPr>
        <p:spPr>
          <a:xfrm>
            <a:off x="3346" y="0"/>
            <a:ext cx="7991476" cy="6858000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344292" y="276225"/>
            <a:ext cx="6932612" cy="249555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2" y="3049588"/>
            <a:ext cx="693261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5013" y="6257393"/>
            <a:ext cx="1259689" cy="343651"/>
          </a:xfrm>
          <a:prstGeom prst="rect">
            <a:avLst/>
          </a:prstGeom>
        </p:spPr>
      </p:pic>
      <p:sp>
        <p:nvSpPr>
          <p:cNvPr id="10" name="Rektangel 9"/>
          <p:cNvSpPr/>
          <p:nvPr userDrawn="1"/>
        </p:nvSpPr>
        <p:spPr>
          <a:xfrm>
            <a:off x="-2882900" y="333375"/>
            <a:ext cx="2476500" cy="48046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 or leave background blue. 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using image make sure white text is clearly visible on the image or use dark blue or magenta text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not using image, text can be white or magenta.</a:t>
            </a:r>
          </a:p>
        </p:txBody>
      </p:sp>
    </p:spTree>
    <p:extLst>
      <p:ext uri="{BB962C8B-B14F-4D97-AF65-F5344CB8AC3E}">
        <p14:creationId xmlns:p14="http://schemas.microsoft.com/office/powerpoint/2010/main" val="341739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risont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1"/>
            <a:ext cx="12192000" cy="59597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5959792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344390" y="276225"/>
            <a:ext cx="6471868" cy="249555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390" y="3049588"/>
            <a:ext cx="6471868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5013" y="6257393"/>
            <a:ext cx="1259689" cy="343651"/>
          </a:xfrm>
          <a:prstGeom prst="rect">
            <a:avLst/>
          </a:prstGeom>
        </p:spPr>
      </p:pic>
      <p:sp>
        <p:nvSpPr>
          <p:cNvPr id="9" name="Rektangel 8"/>
          <p:cNvSpPr/>
          <p:nvPr userDrawn="1"/>
        </p:nvSpPr>
        <p:spPr>
          <a:xfrm>
            <a:off x="-2882900" y="333375"/>
            <a:ext cx="2476500" cy="48046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 or leave background magenta. 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using image, make sure white title and subtitle text is clearly visible on the image –</a:t>
            </a:r>
            <a:r>
              <a:rPr lang="en-US" baseline="0">
                <a:solidFill>
                  <a:schemeClr val="tx2"/>
                </a:solidFill>
              </a:rPr>
              <a:t> if not</a:t>
            </a:r>
            <a:r>
              <a:rPr lang="en-US">
                <a:solidFill>
                  <a:schemeClr val="tx2"/>
                </a:solidFill>
              </a:rPr>
              <a:t> use dark blue or magenta text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not using image, text can be white or blue.</a:t>
            </a:r>
          </a:p>
        </p:txBody>
      </p:sp>
    </p:spTree>
    <p:extLst>
      <p:ext uri="{BB962C8B-B14F-4D97-AF65-F5344CB8AC3E}">
        <p14:creationId xmlns:p14="http://schemas.microsoft.com/office/powerpoint/2010/main" val="396820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76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risont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5959792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344390" y="276225"/>
            <a:ext cx="6471868" cy="249555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390" y="3049588"/>
            <a:ext cx="6471868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5013" y="6257393"/>
            <a:ext cx="1259689" cy="343651"/>
          </a:xfrm>
          <a:prstGeom prst="rect">
            <a:avLst/>
          </a:prstGeom>
        </p:spPr>
      </p:pic>
      <p:sp>
        <p:nvSpPr>
          <p:cNvPr id="7" name="Rektangel 6"/>
          <p:cNvSpPr/>
          <p:nvPr userDrawn="1"/>
        </p:nvSpPr>
        <p:spPr>
          <a:xfrm>
            <a:off x="-2882900" y="333375"/>
            <a:ext cx="2476500" cy="48046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 or leave background blue. 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using an image,</a:t>
            </a:r>
            <a:r>
              <a:rPr lang="en-US" baseline="0">
                <a:solidFill>
                  <a:schemeClr val="tx2"/>
                </a:solidFill>
              </a:rPr>
              <a:t> </a:t>
            </a:r>
            <a:r>
              <a:rPr lang="en-US">
                <a:solidFill>
                  <a:schemeClr val="tx2"/>
                </a:solidFill>
              </a:rPr>
              <a:t> make sure the white text is clearly visible on the image or use dark blue or magenta text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not using image, text can be white or magenta.</a:t>
            </a:r>
          </a:p>
        </p:txBody>
      </p:sp>
    </p:spTree>
    <p:extLst>
      <p:ext uri="{BB962C8B-B14F-4D97-AF65-F5344CB8AC3E}">
        <p14:creationId xmlns:p14="http://schemas.microsoft.com/office/powerpoint/2010/main" val="178583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76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34963" y="320676"/>
            <a:ext cx="11509863" cy="10033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GB" dirty="0"/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34963" y="1808164"/>
            <a:ext cx="11509864" cy="4516436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en-GB" dirty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359835"/>
            <a:ext cx="11509865" cy="390525"/>
          </a:xfrm>
        </p:spPr>
        <p:txBody>
          <a:bodyPr>
            <a:noAutofit/>
          </a:bodyPr>
          <a:lstStyle>
            <a:lvl1pPr marL="0" indent="0" algn="l">
              <a:buNone/>
              <a:defRPr sz="2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6" name="Rak koppling 15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3755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34963" y="320676"/>
            <a:ext cx="11509865" cy="10033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GB"/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1808164"/>
            <a:ext cx="5672137" cy="45164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72691" y="1808164"/>
            <a:ext cx="5672137" cy="45164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  <a:p>
            <a:pPr lvl="4"/>
            <a:endParaRPr lang="en-US" noProof="0"/>
          </a:p>
        </p:txBody>
      </p:sp>
      <p:sp>
        <p:nvSpPr>
          <p:cNvPr id="13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359835"/>
            <a:ext cx="11509865" cy="390525"/>
          </a:xfrm>
        </p:spPr>
        <p:txBody>
          <a:bodyPr>
            <a:noAutofit/>
          </a:bodyPr>
          <a:lstStyle>
            <a:lvl1pPr marL="0" indent="0" algn="l">
              <a:buNone/>
              <a:defRPr sz="2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6" name="Rak koppling 15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tshållare för datum 3"/>
          <p:cNvSpPr>
            <a:spLocks noGrp="1"/>
          </p:cNvSpPr>
          <p:nvPr>
            <p:ph type="dt" sz="half" idx="14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3608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BEEE915-C864-4F61-BDD9-69D0139FF9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02444" y="1974019"/>
            <a:ext cx="5357852" cy="1494089"/>
          </a:xfrm>
          <a:solidFill>
            <a:srgbClr val="00ADED"/>
          </a:solidFill>
        </p:spPr>
        <p:txBody>
          <a:bodyPr anchor="b"/>
          <a:lstStyle>
            <a:lvl1pPr algn="ctr">
              <a:defRPr sz="4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7346F937-9326-4151-B0F5-ECF8A909B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26480" y="3468108"/>
            <a:ext cx="4709780" cy="531891"/>
          </a:xfrm>
          <a:solidFill>
            <a:srgbClr val="00ADED"/>
          </a:solidFill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tyle</a:t>
            </a:r>
          </a:p>
        </p:txBody>
      </p:sp>
      <p:pic>
        <p:nvPicPr>
          <p:cNvPr id="3" name="Picture 2" descr="A picture containing clock&#10;&#10;Description automatically generated">
            <a:extLst>
              <a:ext uri="{FF2B5EF4-FFF2-40B4-BE49-F238E27FC236}">
                <a16:creationId xmlns:a16="http://schemas.microsoft.com/office/drawing/2014/main" id="{37D34D02-5A23-412E-9B62-5B34299D8D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218"/>
          <a:stretch/>
        </p:blipFill>
        <p:spPr>
          <a:xfrm>
            <a:off x="-600" y="-4270"/>
            <a:ext cx="12193200" cy="6866541"/>
          </a:xfrm>
          <a:prstGeom prst="rect">
            <a:avLst/>
          </a:prstGeom>
        </p:spPr>
      </p:pic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FDC46F5-759E-4725-90FA-59DED1CD89AC}"/>
              </a:ext>
            </a:extLst>
          </p:cNvPr>
          <p:cNvSpPr/>
          <p:nvPr/>
        </p:nvSpPr>
        <p:spPr>
          <a:xfrm>
            <a:off x="10803118" y="6356351"/>
            <a:ext cx="1216057" cy="50164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578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0" y="0"/>
            <a:ext cx="6083300" cy="6324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34963" y="320676"/>
            <a:ext cx="5616590" cy="10033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1808164"/>
            <a:ext cx="5618163" cy="45164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16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359835"/>
            <a:ext cx="5616590" cy="390525"/>
          </a:xfrm>
        </p:spPr>
        <p:txBody>
          <a:bodyPr>
            <a:noAutofit/>
          </a:bodyPr>
          <a:lstStyle>
            <a:lvl1pPr marL="0" indent="0" algn="l">
              <a:buNone/>
              <a:defRPr sz="2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8" name="Rak koppling 17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0829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0" y="3240086"/>
            <a:ext cx="6083300" cy="308451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34963" y="320676"/>
            <a:ext cx="5616590" cy="10033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1808164"/>
            <a:ext cx="5618163" cy="45164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-6350"/>
            <a:ext cx="6083300" cy="3181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6" name="Platshållare för text 7"/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359835"/>
            <a:ext cx="5616590" cy="390525"/>
          </a:xfrm>
        </p:spPr>
        <p:txBody>
          <a:bodyPr>
            <a:noAutofit/>
          </a:bodyPr>
          <a:lstStyle>
            <a:lvl1pPr marL="0" indent="0" algn="l">
              <a:buNone/>
              <a:defRPr sz="2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9" name="Rak koppling 18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ak koppling 19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2158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0" y="3240086"/>
            <a:ext cx="6083300" cy="308451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34963" y="320676"/>
            <a:ext cx="5616590" cy="10033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1808164"/>
            <a:ext cx="5618163" cy="45164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6108699" y="-6350"/>
            <a:ext cx="3017371" cy="3181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6" name="Platshållare för text 7"/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359835"/>
            <a:ext cx="5616590" cy="390525"/>
          </a:xfrm>
        </p:spPr>
        <p:txBody>
          <a:bodyPr>
            <a:noAutofit/>
          </a:bodyPr>
          <a:lstStyle>
            <a:lvl1pPr marL="0" indent="0" algn="l">
              <a:buNone/>
              <a:defRPr sz="2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Platshållare för bild 6"/>
          <p:cNvSpPr>
            <a:spLocks noGrp="1"/>
          </p:cNvSpPr>
          <p:nvPr>
            <p:ph type="pic" sz="quarter" idx="17" hasCustomPrompt="1"/>
          </p:nvPr>
        </p:nvSpPr>
        <p:spPr>
          <a:xfrm>
            <a:off x="9194800" y="-6350"/>
            <a:ext cx="2997200" cy="3181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20" name="Rak koppling 19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4301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34963" y="320676"/>
            <a:ext cx="5616590" cy="10033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1808164"/>
            <a:ext cx="5618163" cy="45164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-6350"/>
            <a:ext cx="6083300" cy="34417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6" name="Platshållare för text 7"/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359835"/>
            <a:ext cx="5616590" cy="390525"/>
          </a:xfrm>
        </p:spPr>
        <p:txBody>
          <a:bodyPr>
            <a:noAutofit/>
          </a:bodyPr>
          <a:lstStyle>
            <a:lvl1pPr marL="0" indent="0" algn="l">
              <a:buNone/>
              <a:defRPr sz="2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quarter" idx="17" hasCustomPrompt="1"/>
          </p:nvPr>
        </p:nvSpPr>
        <p:spPr>
          <a:xfrm>
            <a:off x="6108700" y="3530600"/>
            <a:ext cx="6083300" cy="279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  <a:p>
            <a:pPr lvl="4"/>
            <a:endParaRPr lang="en-US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8" name="Rak koppling 17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ak koppling 19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6627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-6350"/>
            <a:ext cx="12191999" cy="68643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47174" y="320676"/>
            <a:ext cx="5616590" cy="10033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Rektangel 4"/>
          <p:cNvSpPr/>
          <p:nvPr userDrawn="1"/>
        </p:nvSpPr>
        <p:spPr>
          <a:xfrm>
            <a:off x="-2763837" y="667204"/>
            <a:ext cx="2476500" cy="41225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. Image will cover entire page and no logo will be visible. The image should scale correctly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Click the header box and make sure white text is clearly visible on the image or use dark blue text 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(not magenta).</a:t>
            </a:r>
          </a:p>
        </p:txBody>
      </p:sp>
    </p:spTree>
    <p:extLst>
      <p:ext uri="{BB962C8B-B14F-4D97-AF65-F5344CB8AC3E}">
        <p14:creationId xmlns:p14="http://schemas.microsoft.com/office/powerpoint/2010/main" val="371897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/chapter/quot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3338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0" y="0"/>
            <a:ext cx="6083300" cy="6324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52034" y="283731"/>
            <a:ext cx="5616590" cy="52614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239230" y="6399543"/>
            <a:ext cx="77135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Источник:</a:t>
            </a:r>
            <a:endParaRPr lang="en-US"/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Rektangel 13"/>
          <p:cNvSpPr/>
          <p:nvPr userDrawn="1"/>
        </p:nvSpPr>
        <p:spPr>
          <a:xfrm>
            <a:off x="-2882900" y="333375"/>
            <a:ext cx="2476500" cy="47611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 or leave background blue. 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using image make sure white text is clearly visible on the image or use dark blue text (not magenta)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Text on blue background can be white and/or magenta.</a:t>
            </a:r>
          </a:p>
        </p:txBody>
      </p:sp>
    </p:spTree>
    <p:extLst>
      <p:ext uri="{BB962C8B-B14F-4D97-AF65-F5344CB8AC3E}">
        <p14:creationId xmlns:p14="http://schemas.microsoft.com/office/powerpoint/2010/main" val="338199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/chapterquote slid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324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0" y="0"/>
            <a:ext cx="6083300" cy="6324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8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52034" y="283731"/>
            <a:ext cx="5616590" cy="52614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5" name="Rak koppling 14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ak koppling 15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Rektangel 13"/>
          <p:cNvSpPr/>
          <p:nvPr userDrawn="1"/>
        </p:nvSpPr>
        <p:spPr>
          <a:xfrm>
            <a:off x="-2882900" y="333375"/>
            <a:ext cx="2476500" cy="4688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 or leave background magenta. 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using image make sure white text is clearly visible on the image or use dark blue text (not magenta)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</a:rPr>
              <a:t>Text on magenta background can be white and/or blue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5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/chapter/quote slid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324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324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8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52034" y="283731"/>
            <a:ext cx="5616590" cy="52614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5" name="Rak koppling 14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ak koppling 15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Rektangel 13"/>
          <p:cNvSpPr/>
          <p:nvPr userDrawn="1"/>
        </p:nvSpPr>
        <p:spPr>
          <a:xfrm>
            <a:off x="-2882900" y="333375"/>
            <a:ext cx="2476500" cy="4688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Add image by clicking on the image icon or leave background magenta. 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If using image make sure white text is clearly visible on the image or use dark blue text (not magenta)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</a:rPr>
              <a:t>Text on magenta background can be white and/or blue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06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34963" y="320676"/>
            <a:ext cx="11509865" cy="1003300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GB"/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359835"/>
            <a:ext cx="11509865" cy="390525"/>
          </a:xfrm>
        </p:spPr>
        <p:txBody>
          <a:bodyPr>
            <a:noAutofit/>
          </a:bodyPr>
          <a:lstStyle>
            <a:lvl1pPr marL="0" indent="0" algn="l">
              <a:buNone/>
              <a:defRPr sz="2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Источник:</a:t>
            </a:r>
            <a:endParaRPr lang="en-US" noProof="0"/>
          </a:p>
        </p:txBody>
      </p:sp>
      <p:cxnSp>
        <p:nvCxnSpPr>
          <p:cNvPr id="14" name="Rak koppling 13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koppling 14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5698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6188" y="2061893"/>
            <a:ext cx="6972872" cy="2903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10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8087" y="1974019"/>
            <a:ext cx="5006566" cy="1470025"/>
          </a:xfrm>
        </p:spPr>
        <p:txBody>
          <a:bodyPr anchor="b"/>
          <a:lstStyle>
            <a:lvl1pPr algn="ctr">
              <a:defRPr sz="4400" b="1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8087" y="3468108"/>
            <a:ext cx="5006566" cy="531891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6F042933-4DAA-4CC5-A836-05F7E653588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218"/>
          <a:stretch/>
        </p:blipFill>
        <p:spPr>
          <a:xfrm>
            <a:off x="-600" y="-4270"/>
            <a:ext cx="12193200" cy="6866541"/>
          </a:xfrm>
          <a:prstGeom prst="rect">
            <a:avLst/>
          </a:prstGeom>
        </p:spPr>
      </p:pic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2C34E655-A04F-4B33-A270-44FF54B53503}"/>
              </a:ext>
            </a:extLst>
          </p:cNvPr>
          <p:cNvSpPr/>
          <p:nvPr/>
        </p:nvSpPr>
        <p:spPr>
          <a:xfrm>
            <a:off x="10803118" y="6356351"/>
            <a:ext cx="1216057" cy="50164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07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Essity + brand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37" y="6088659"/>
            <a:ext cx="791367" cy="418104"/>
          </a:xfrm>
          <a:prstGeom prst="rect">
            <a:avLst/>
          </a:prstGeom>
        </p:spPr>
      </p:pic>
      <p:pic>
        <p:nvPicPr>
          <p:cNvPr id="5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6009" y="6064152"/>
            <a:ext cx="791367" cy="467119"/>
          </a:xfrm>
          <a:prstGeom prst="rect">
            <a:avLst/>
          </a:prstGeom>
        </p:spPr>
      </p:pic>
      <p:pic>
        <p:nvPicPr>
          <p:cNvPr id="6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381" y="6151525"/>
            <a:ext cx="791367" cy="292372"/>
          </a:xfrm>
          <a:prstGeom prst="rect">
            <a:avLst/>
          </a:prstGeom>
        </p:spPr>
      </p:pic>
      <p:pic>
        <p:nvPicPr>
          <p:cNvPr id="7" name="Picture 15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453" y="5993158"/>
            <a:ext cx="1017472" cy="609107"/>
          </a:xfrm>
          <a:prstGeom prst="rect">
            <a:avLst/>
          </a:prstGeom>
        </p:spPr>
      </p:pic>
      <p:pic>
        <p:nvPicPr>
          <p:cNvPr id="9" name="Picture 1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04063" y="6052913"/>
            <a:ext cx="712156" cy="489597"/>
          </a:xfrm>
          <a:prstGeom prst="rect">
            <a:avLst/>
          </a:prstGeom>
        </p:spPr>
      </p:pic>
      <p:pic>
        <p:nvPicPr>
          <p:cNvPr id="10" name="Picture 1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4766" y="6042109"/>
            <a:ext cx="623124" cy="511205"/>
          </a:xfrm>
          <a:prstGeom prst="rect">
            <a:avLst/>
          </a:prstGeom>
        </p:spPr>
      </p:pic>
      <p:pic>
        <p:nvPicPr>
          <p:cNvPr id="11" name="Picture 1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635" y="6042235"/>
            <a:ext cx="712141" cy="510953"/>
          </a:xfrm>
          <a:prstGeom prst="rect">
            <a:avLst/>
          </a:prstGeom>
        </p:spPr>
      </p:pic>
      <p:pic>
        <p:nvPicPr>
          <p:cNvPr id="12" name="Picture 19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1192" y="6042230"/>
            <a:ext cx="712158" cy="510962"/>
          </a:xfrm>
          <a:prstGeom prst="rect">
            <a:avLst/>
          </a:prstGeom>
        </p:spPr>
      </p:pic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6188" y="2061893"/>
            <a:ext cx="6972872" cy="2903039"/>
          </a:xfrm>
          <a:prstGeom prst="rect">
            <a:avLst/>
          </a:prstGeom>
        </p:spPr>
      </p:pic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9306" y="6041465"/>
            <a:ext cx="788935" cy="512493"/>
          </a:xfrm>
          <a:prstGeom prst="rect">
            <a:avLst/>
          </a:prstGeom>
        </p:spPr>
      </p:pic>
      <p:pic>
        <p:nvPicPr>
          <p:cNvPr id="13" name="Bildobjekt 12" descr="En bild som visar clipart&#10;&#10;Beskrivning genererad med mycket hög exakthet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658" y="6072370"/>
            <a:ext cx="834258" cy="450683"/>
          </a:xfrm>
          <a:prstGeom prst="rect">
            <a:avLst/>
          </a:prstGeom>
        </p:spPr>
      </p:pic>
      <p:pic>
        <p:nvPicPr>
          <p:cNvPr id="18" name="Bildobjekt 17" descr="En bild som visar clipart&#10;&#10;Beskrivning genererad med hög exakthet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266" y="6180466"/>
            <a:ext cx="1380381" cy="263431"/>
          </a:xfrm>
          <a:prstGeom prst="rect">
            <a:avLst/>
          </a:prstGeom>
        </p:spPr>
      </p:pic>
      <p:sp>
        <p:nvSpPr>
          <p:cNvPr id="15" name="Rektangel 14"/>
          <p:cNvSpPr/>
          <p:nvPr userDrawn="1"/>
        </p:nvSpPr>
        <p:spPr>
          <a:xfrm>
            <a:off x="-3262365" y="3585029"/>
            <a:ext cx="2973015" cy="32729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/>
            <a:r>
              <a:rPr lang="en-US">
                <a:solidFill>
                  <a:schemeClr val="tx2"/>
                </a:solidFill>
              </a:rPr>
              <a:t>You can add your local logos in the field at the bottom but always keep the global TENA and </a:t>
            </a:r>
            <a:r>
              <a:rPr lang="en-US" err="1">
                <a:solidFill>
                  <a:schemeClr val="tx2"/>
                </a:solidFill>
              </a:rPr>
              <a:t>Tork</a:t>
            </a:r>
            <a:r>
              <a:rPr lang="en-US">
                <a:solidFill>
                  <a:schemeClr val="tx2"/>
                </a:solidFill>
              </a:rPr>
              <a:t>. </a:t>
            </a:r>
          </a:p>
          <a:p>
            <a:pPr lvl="0" algn="l"/>
            <a:endParaRPr lang="en-US">
              <a:solidFill>
                <a:schemeClr val="tx2"/>
              </a:solidFill>
            </a:endParaRPr>
          </a:p>
          <a:p>
            <a:pPr lvl="0" algn="l"/>
            <a:r>
              <a:rPr lang="en-US">
                <a:solidFill>
                  <a:schemeClr val="tx2"/>
                </a:solidFill>
              </a:rPr>
              <a:t>To add logo go to “View” and “Slide Master,” and add the logos</a:t>
            </a:r>
            <a:r>
              <a:rPr lang="en-US" baseline="0">
                <a:solidFill>
                  <a:schemeClr val="tx2"/>
                </a:solidFill>
              </a:rPr>
              <a:t> you want. Then cl</a:t>
            </a:r>
            <a:r>
              <a:rPr lang="en-US">
                <a:solidFill>
                  <a:schemeClr val="tx2"/>
                </a:solidFill>
              </a:rPr>
              <a:t>ose the Slide Master tab.</a:t>
            </a:r>
            <a:endParaRPr lang="sv-SE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88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ed front page w lar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295" y="1913038"/>
            <a:ext cx="7799294" cy="3247106"/>
          </a:xfrm>
          <a:prstGeom prst="rect">
            <a:avLst/>
          </a:prstGeom>
        </p:spPr>
      </p:pic>
      <p:sp>
        <p:nvSpPr>
          <p:cNvPr id="3" name="Rektangel 2"/>
          <p:cNvSpPr/>
          <p:nvPr userDrawn="1"/>
        </p:nvSpPr>
        <p:spPr>
          <a:xfrm>
            <a:off x="0" y="0"/>
            <a:ext cx="90201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4" name="Rektangel 3"/>
          <p:cNvSpPr/>
          <p:nvPr userDrawn="1"/>
        </p:nvSpPr>
        <p:spPr>
          <a:xfrm>
            <a:off x="3171825" y="0"/>
            <a:ext cx="902017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-2882900" y="333375"/>
            <a:ext cx="2476500" cy="38449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>
                <a:solidFill>
                  <a:schemeClr val="tx2"/>
                </a:solidFill>
              </a:rPr>
              <a:t>Optional front page/ end page with strong animation. Watch in slide show to see the animation.</a:t>
            </a:r>
          </a:p>
          <a:p>
            <a:pPr algn="l"/>
            <a:endParaRPr lang="en-US">
              <a:solidFill>
                <a:schemeClr val="tx2"/>
              </a:solidFill>
            </a:endParaRPr>
          </a:p>
          <a:p>
            <a:pPr algn="l"/>
            <a:r>
              <a:rPr lang="en-US">
                <a:solidFill>
                  <a:schemeClr val="tx2"/>
                </a:solidFill>
              </a:rPr>
              <a:t>Do not add any text or image. If you need to add text use any of the “Title slides” in this template.</a:t>
            </a:r>
          </a:p>
        </p:txBody>
      </p:sp>
    </p:spTree>
    <p:extLst>
      <p:ext uri="{BB962C8B-B14F-4D97-AF65-F5344CB8AC3E}">
        <p14:creationId xmlns:p14="http://schemas.microsoft.com/office/powerpoint/2010/main" val="30974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6348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719667" y="2168976"/>
            <a:ext cx="9120000" cy="9360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720000" y="6627600"/>
            <a:ext cx="2844800" cy="2376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2246400" y="6627600"/>
            <a:ext cx="7699200" cy="23760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prstClr val="white"/>
                </a:solidFill>
              </a:rPr>
              <a:t>Источник: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8688000" y="6627600"/>
            <a:ext cx="2844800" cy="237600"/>
          </a:xfrm>
          <a:prstGeom prst="rect">
            <a:avLst/>
          </a:prstGeom>
        </p:spPr>
        <p:txBody>
          <a:bodyPr/>
          <a:lstStyle/>
          <a:p>
            <a:fld id="{40FF4F82-AC63-419D-83E0-6D2209FA71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63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719667" y="1481610"/>
            <a:ext cx="9120000" cy="5079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>
                <a:solidFill>
                  <a:prstClr val="white"/>
                </a:solidFill>
              </a:rPr>
              <a:t>Источник: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FF4F82-AC63-419D-83E0-6D2209FA71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71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blue A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2246400"/>
            <a:ext cx="12192000" cy="4636800"/>
          </a:xfr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000" b="0" baseline="0">
                <a:solidFill>
                  <a:srgbClr val="00205B"/>
                </a:solidFill>
              </a:defRPr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4800" baseline="0"/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4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294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 blue A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2246400"/>
            <a:ext cx="12192000" cy="4636800"/>
          </a:xfrm>
          <a:noFill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000" b="0" baseline="0">
                <a:solidFill>
                  <a:srgbClr val="00205B"/>
                </a:solidFill>
              </a:defRPr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22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A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0" y="2246400"/>
            <a:ext cx="12192000" cy="4636800"/>
          </a:xfrm>
          <a:noFill/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56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 A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0" y="2246400"/>
            <a:ext cx="12192000" cy="4636800"/>
          </a:xfrm>
          <a:noFill/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7148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 A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0" y="2246400"/>
            <a:ext cx="12192000" cy="4636800"/>
          </a:xfrm>
          <a:noFill/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576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arm gray A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0" y="2246400"/>
            <a:ext cx="12192000" cy="4636800"/>
          </a:xfrm>
          <a:noFill/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082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B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B8343C6A-A43F-4221-AAB1-3FE4FD5E75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218"/>
          <a:stretch/>
        </p:blipFill>
        <p:spPr>
          <a:xfrm>
            <a:off x="-600" y="-4270"/>
            <a:ext cx="12193200" cy="6866541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8087" y="1974019"/>
            <a:ext cx="5006566" cy="1470025"/>
          </a:xfrm>
        </p:spPr>
        <p:txBody>
          <a:bodyPr anchor="b"/>
          <a:lstStyle>
            <a:lvl1pPr algn="ctr">
              <a:defRPr sz="4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8087" y="3468108"/>
            <a:ext cx="5006566" cy="531891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0FEDABA-932B-4BDA-8E14-7B90E35EF81D}"/>
              </a:ext>
            </a:extLst>
          </p:cNvPr>
          <p:cNvSpPr/>
          <p:nvPr/>
        </p:nvSpPr>
        <p:spPr>
          <a:xfrm>
            <a:off x="10803118" y="6356351"/>
            <a:ext cx="1216057" cy="50164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966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eutral A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0" y="2246400"/>
            <a:ext cx="12192000" cy="4636800"/>
          </a:xfrm>
          <a:noFill/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689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blue B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2246400"/>
            <a:ext cx="12192000" cy="4636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000" b="0" baseline="0">
                <a:solidFill>
                  <a:srgbClr val="00205B"/>
                </a:solidFill>
              </a:defRPr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424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 blue B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2246400"/>
            <a:ext cx="12192000" cy="4636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000" b="0" baseline="0">
                <a:solidFill>
                  <a:srgbClr val="00205B"/>
                </a:solidFill>
              </a:defRPr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6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52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B S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0" y="2246400"/>
            <a:ext cx="12192000" cy="4636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en-US" sz="1600" b="1">
                <a:solidFill>
                  <a:srgbClr val="00205B"/>
                </a:solidFill>
                <a:latin typeface="Arial" pitchFamily="34" charset="0"/>
                <a:cs typeface="Arial" pitchFamily="34" charset="0"/>
              </a:rPr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300663"/>
            <a:ext cx="12192000" cy="1575337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8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5000"/>
              </a:lnSpc>
              <a:defRPr lang="en-US" sz="4800" noProof="0" dirty="0"/>
            </a:lvl1pPr>
          </a:lstStyle>
          <a:p>
            <a:pPr lvl="0">
              <a:lnSpc>
                <a:spcPct val="85000"/>
              </a:lnSpc>
            </a:pPr>
            <a:r>
              <a:rPr lang="en-US" noProof="0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661" y="366526"/>
            <a:ext cx="878400" cy="1029235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81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81610"/>
            <a:ext cx="9120000" cy="38380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>
                <a:solidFill>
                  <a:schemeClr val="bg2"/>
                </a:solidFill>
              </a:defRPr>
            </a:lvl1pPr>
            <a:lvl2pPr marL="540000" indent="-270000">
              <a:buFont typeface="Arial" panose="020B0604020202020204" pitchFamily="34" charset="0"/>
              <a:buChar char="-"/>
              <a:defRPr sz="2200"/>
            </a:lvl2pPr>
            <a:lvl3pPr marL="810000" indent="-270000">
              <a:buFont typeface="Arial" panose="020B0604020202020204" pitchFamily="34" charset="0"/>
              <a:buChar char="-"/>
              <a:defRPr sz="2200"/>
            </a:lvl3pPr>
            <a:lvl4pPr marL="1080000" indent="-270000">
              <a:buFont typeface="Arial" panose="020B0604020202020204" pitchFamily="34" charset="0"/>
              <a:buChar char="-"/>
              <a:defRPr sz="2200"/>
            </a:lvl4pPr>
            <a:lvl5pPr marL="1350000" indent="-270000">
              <a:buFont typeface="Arial" panose="020B0604020202020204" pitchFamily="34" charset="0"/>
              <a:buChar char="-"/>
              <a:defRPr sz="2200"/>
            </a:lvl5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719667" y="2025154"/>
            <a:ext cx="9120000" cy="4536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5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720000" y="1483201"/>
            <a:ext cx="5280000" cy="5077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288000" y="1484313"/>
            <a:ext cx="5280000" cy="507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1763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16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4800600"/>
            <a:ext cx="9120000" cy="566738"/>
          </a:xfrm>
        </p:spPr>
        <p:txBody>
          <a:bodyPr anchor="t">
            <a:noAutofit/>
          </a:bodyPr>
          <a:lstStyle>
            <a:lvl1pPr algn="l">
              <a:defRPr sz="3200" b="0" baseline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0000" y="5367338"/>
            <a:ext cx="9120000" cy="804862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2200" baseline="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20000" y="612775"/>
            <a:ext cx="91200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46476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634800"/>
          </a:xfrm>
          <a:noFill/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719667" y="2168976"/>
            <a:ext cx="9120000" cy="936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3200" baseline="0">
                <a:solidFill>
                  <a:srgbClr val="00205B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8642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63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719667" y="2168976"/>
            <a:ext cx="9120000" cy="936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3200" baseline="0">
                <a:solidFill>
                  <a:srgbClr val="00205B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3948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A">
    <p:bg>
      <p:bgPr>
        <a:gradFill>
          <a:gsLst>
            <a:gs pos="0">
              <a:schemeClr val="accent5">
                <a:lumMod val="60000"/>
                <a:lumOff val="40000"/>
              </a:schemeClr>
            </a:gs>
            <a:gs pos="100000">
              <a:schemeClr val="accent6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8087" y="1974019"/>
            <a:ext cx="5006566" cy="1470025"/>
          </a:xfrm>
        </p:spPr>
        <p:txBody>
          <a:bodyPr anchor="b"/>
          <a:lstStyle>
            <a:lvl1pPr algn="ctr">
              <a:defRPr sz="4400" b="1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8087" y="3468108"/>
            <a:ext cx="5006566" cy="531891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792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634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719667" y="2168976"/>
            <a:ext cx="9120000" cy="936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0848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634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719667" y="2168976"/>
            <a:ext cx="9120000" cy="936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3303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634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719667" y="2168976"/>
            <a:ext cx="9120000" cy="936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887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/>
            </a:lvl1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7594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19667" y="1481138"/>
            <a:ext cx="7008516" cy="507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876221" y="1484314"/>
            <a:ext cx="3644091" cy="507682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72182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quare bullet enum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9667" y="1481610"/>
            <a:ext cx="9120000" cy="5079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4252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umeric enum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719667" y="1481610"/>
            <a:ext cx="9120000" cy="5079738"/>
          </a:xfrm>
        </p:spPr>
        <p:txBody>
          <a:bodyPr/>
          <a:lstStyle>
            <a:lvl1pPr marL="288000" indent="-288000">
              <a:buClr>
                <a:schemeClr val="bg2"/>
              </a:buClr>
              <a:buSzPct val="100000"/>
              <a:buFont typeface="+mj-lt"/>
              <a:buAutoNum type="arabicPeriod"/>
              <a:defRPr/>
            </a:lvl1pPr>
            <a:lvl2pPr marL="540000" indent="-270000">
              <a:buClr>
                <a:schemeClr val="bg2"/>
              </a:buClr>
              <a:buSzPct val="100000"/>
              <a:buFont typeface="+mj-lt"/>
              <a:buAutoNum type="arabicPeriod"/>
              <a:defRPr/>
            </a:lvl2pPr>
            <a:lvl3pPr marL="810000" indent="-270000">
              <a:buClr>
                <a:schemeClr val="bg2"/>
              </a:buClr>
              <a:buSzPct val="100000"/>
              <a:buFont typeface="+mj-lt"/>
              <a:buAutoNum type="arabicPeriod"/>
              <a:defRPr/>
            </a:lvl3pPr>
            <a:lvl4pPr marL="1080000" indent="-270000">
              <a:buClr>
                <a:schemeClr val="bg2"/>
              </a:buClr>
              <a:buSzPct val="100000"/>
              <a:buFont typeface="+mj-lt"/>
              <a:buAutoNum type="arabicPeriod"/>
              <a:defRPr/>
            </a:lvl4pPr>
            <a:lvl5pPr marL="1350000" indent="-270000">
              <a:buClr>
                <a:schemeClr val="bg2"/>
              </a:buClr>
              <a:buSzPct val="100000"/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noProof="0"/>
              <a:t>Источник:</a:t>
            </a:r>
            <a:endParaRPr lang="en-US" noProof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FF4F82-AC63-419D-83E0-6D2209FA71B0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253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637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20000" y="376767"/>
            <a:ext cx="9120000" cy="1121257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sz="4800" noProof="0" dirty="0"/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98023"/>
            <a:ext cx="9120000" cy="338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aseline="0">
                <a:solidFill>
                  <a:schemeClr val="bg2"/>
                </a:solidFill>
              </a:defRPr>
            </a:lvl1pPr>
            <a:lvl2pPr marL="270000" indent="0">
              <a:buFontTx/>
              <a:buNone/>
              <a:defRPr sz="2200">
                <a:solidFill>
                  <a:schemeClr val="bg2"/>
                </a:solidFill>
              </a:defRPr>
            </a:lvl2pPr>
            <a:lvl3pPr marL="540000" indent="0">
              <a:buFontTx/>
              <a:buNone/>
              <a:defRPr sz="2200">
                <a:solidFill>
                  <a:schemeClr val="bg2"/>
                </a:solidFill>
              </a:defRPr>
            </a:lvl3pPr>
            <a:lvl4pPr marL="810000" indent="0">
              <a:buFontTx/>
              <a:buNone/>
              <a:defRPr sz="2200">
                <a:solidFill>
                  <a:schemeClr val="bg2"/>
                </a:solidFill>
              </a:defRPr>
            </a:lvl4pPr>
            <a:lvl5pPr marL="1080000" indent="0">
              <a:buFontTx/>
              <a:buNone/>
              <a:defRPr sz="2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48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5" descr="WAVE 2 WHITE_green.psd"/>
          <p:cNvPicPr>
            <a:picLocks noChangeAspect="1"/>
          </p:cNvPicPr>
          <p:nvPr userDrawn="1"/>
        </p:nvPicPr>
        <p:blipFill rotWithShape="1">
          <a:blip r:embed="rId2"/>
          <a:srcRect r="-8" b="-13"/>
          <a:stretch/>
        </p:blipFill>
        <p:spPr>
          <a:xfrm>
            <a:off x="0" y="5918887"/>
            <a:ext cx="12192000" cy="93911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317" y="1867515"/>
            <a:ext cx="2413816" cy="282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38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">
    <p:bg>
      <p:bgPr>
        <a:gradFill>
          <a:gsLst>
            <a:gs pos="100000">
              <a:schemeClr val="accent1">
                <a:lumMod val="0"/>
              </a:schemeClr>
            </a:gs>
            <a:gs pos="33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C8354A99-1143-49C4-8C97-8B9C5F60930F}"/>
              </a:ext>
            </a:extLst>
          </p:cNvPr>
          <p:cNvSpPr/>
          <p:nvPr/>
        </p:nvSpPr>
        <p:spPr>
          <a:xfrm>
            <a:off x="10803118" y="6356351"/>
            <a:ext cx="1216057" cy="50164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8087" y="1974019"/>
            <a:ext cx="5006566" cy="1470025"/>
          </a:xfrm>
        </p:spPr>
        <p:txBody>
          <a:bodyPr anchor="b"/>
          <a:lstStyle>
            <a:lvl1pPr algn="ctr">
              <a:defRPr sz="4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8087" y="3468108"/>
            <a:ext cx="5006566" cy="531891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646B1CD-1058-4E3F-A236-CDECD4F84030}"/>
              </a:ext>
            </a:extLst>
          </p:cNvPr>
          <p:cNvSpPr txBox="1">
            <a:spLocks/>
          </p:cNvSpPr>
          <p:nvPr/>
        </p:nvSpPr>
        <p:spPr>
          <a:xfrm>
            <a:off x="11007437" y="6479182"/>
            <a:ext cx="849600" cy="216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2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82875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1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72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5" descr="WAVE 2 WHITE_green.psd"/>
          <p:cNvPicPr>
            <a:picLocks noChangeAspect="1"/>
          </p:cNvPicPr>
          <p:nvPr userDrawn="1"/>
        </p:nvPicPr>
        <p:blipFill rotWithShape="1">
          <a:blip r:embed="rId2"/>
          <a:srcRect r="-8" b="-13"/>
          <a:stretch/>
        </p:blipFill>
        <p:spPr>
          <a:xfrm>
            <a:off x="0" y="5918887"/>
            <a:ext cx="12192000" cy="93911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317" y="1867515"/>
            <a:ext cx="2413816" cy="282831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1203091" y="5102809"/>
            <a:ext cx="9785819" cy="492663"/>
            <a:chOff x="870274" y="5102808"/>
            <a:chExt cx="7339364" cy="492663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274" y="5180052"/>
              <a:ext cx="640080" cy="33817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3871" y="5160230"/>
              <a:ext cx="640080" cy="377819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97468" y="5230900"/>
              <a:ext cx="640080" cy="236479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1065" y="5102808"/>
              <a:ext cx="822960" cy="492663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97" b="-166"/>
            <a:stretch/>
          </p:blipFill>
          <p:spPr>
            <a:xfrm>
              <a:off x="4507542" y="5151139"/>
              <a:ext cx="576012" cy="39600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07071" y="5142401"/>
              <a:ext cx="504000" cy="413477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4117" y="5142503"/>
              <a:ext cx="576000" cy="413273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4588" y="5142499"/>
              <a:ext cx="576012" cy="413281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3638" y="5125516"/>
              <a:ext cx="576000" cy="4472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0509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354B5F8-D134-4955-AACB-00351A427DBF}"/>
              </a:ext>
            </a:extLst>
          </p:cNvPr>
          <p:cNvSpPr txBox="1">
            <a:spLocks/>
          </p:cNvSpPr>
          <p:nvPr userDrawn="1"/>
        </p:nvSpPr>
        <p:spPr>
          <a:xfrm>
            <a:off x="446620" y="1316765"/>
            <a:ext cx="10065873" cy="32118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marR="0" lvl="0" indent="-355591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431C83C-98DE-4117-8325-4FB779013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619" y="204810"/>
            <a:ext cx="10515600" cy="9199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616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792480" y="471311"/>
            <a:ext cx="10888896" cy="578556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792479" y="6373368"/>
            <a:ext cx="10887456" cy="365760"/>
          </a:xfrm>
        </p:spPr>
        <p:txBody>
          <a:bodyPr wrap="square" tIns="0" bIns="0" anchor="b" anchorCtr="0"/>
          <a:lstStyle>
            <a:lvl1pPr marL="0" indent="0">
              <a:spcBef>
                <a:spcPts val="80"/>
              </a:spcBef>
              <a:buNone/>
              <a:defRPr sz="1067" b="0" baseline="0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792480" y="1092201"/>
            <a:ext cx="10887456" cy="31511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24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6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354B5F8-D134-4955-AACB-00351A427DBF}"/>
              </a:ext>
            </a:extLst>
          </p:cNvPr>
          <p:cNvSpPr txBox="1">
            <a:spLocks/>
          </p:cNvSpPr>
          <p:nvPr userDrawn="1"/>
        </p:nvSpPr>
        <p:spPr>
          <a:xfrm>
            <a:off x="446619" y="1292052"/>
            <a:ext cx="10065873" cy="32118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marR="0" lvl="0" indent="-355591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88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3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12192000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5309843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>
            <a:extLst>
              <a:ext uri="{FF2B5EF4-FFF2-40B4-BE49-F238E27FC236}">
                <a16:creationId xmlns:a16="http://schemas.microsoft.com/office/drawing/2014/main" id="{03E65E07-BBB1-A7D1-8F41-C0A84B05B11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465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картинка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>
            <a:extLst>
              <a:ext uri="{FF2B5EF4-FFF2-40B4-BE49-F238E27FC236}">
                <a16:creationId xmlns:a16="http://schemas.microsoft.com/office/drawing/2014/main" id="{A83A4E30-5FC2-ED4F-E800-732D3B45BCE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035B1A50-4CDD-23E9-348C-C85E55F96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3006" y="2493875"/>
            <a:ext cx="9144000" cy="1743989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48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КОРОТКИЙ ЗАГОЛОВОК ПРЕЗЕНТАЦИИ</a:t>
            </a:r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7BC23214-7E40-A86C-F33A-ADF2D186B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106" y="4042313"/>
            <a:ext cx="9144000" cy="630749"/>
          </a:xfrm>
          <a:prstGeom prst="rect">
            <a:avLst/>
          </a:prstGeom>
        </p:spPr>
        <p:txBody>
          <a:bodyPr lIns="0" anchor="t" anchorCtr="0">
            <a:normAutofit/>
          </a:bodyPr>
          <a:lstStyle>
            <a:lvl1pPr marL="0" indent="0" algn="l" defTabSz="914400" rtl="0" eaLnBrk="1" latinLnBrk="0" hangingPunct="1">
              <a:buNone/>
              <a:defRPr lang="ru-RU" sz="24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/вводная/дата/</a:t>
            </a:r>
            <a:r>
              <a:rPr lang="ru-RU" dirty="0" err="1"/>
              <a:t>фио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91BD82-E07A-046D-4F3E-2442B6705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34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_картинка+ромб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>
            <a:extLst>
              <a:ext uri="{FF2B5EF4-FFF2-40B4-BE49-F238E27FC236}">
                <a16:creationId xmlns:a16="http://schemas.microsoft.com/office/drawing/2014/main" id="{70CF3FFE-9719-5AE9-97A2-FC1CCAA4AC2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 algn="ctr">
              <a:defRPr/>
            </a:lvl1pPr>
          </a:lstStyle>
          <a:p>
            <a:endParaRPr lang="ru-RU" dirty="0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31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91BD82-E07A-046D-4F3E-2442B6705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4EFD17FF-4313-FFD0-1F34-41259D86804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1662" y="1350466"/>
            <a:ext cx="4518923" cy="4518923"/>
          </a:xfrm>
          <a:custGeom>
            <a:avLst/>
            <a:gdLst>
              <a:gd name="connsiteX0" fmla="*/ 2230495 w 4518923"/>
              <a:gd name="connsiteY0" fmla="*/ 49 h 4518923"/>
              <a:gd name="connsiteX1" fmla="*/ 2650032 w 4518923"/>
              <a:gd name="connsiteY1" fmla="*/ 167558 h 4518923"/>
              <a:gd name="connsiteX2" fmla="*/ 4340664 w 4518923"/>
              <a:gd name="connsiteY2" fmla="*/ 1815390 h 4518923"/>
              <a:gd name="connsiteX3" fmla="*/ 4351365 w 4518923"/>
              <a:gd name="connsiteY3" fmla="*/ 2650032 h 4518923"/>
              <a:gd name="connsiteX4" fmla="*/ 2703533 w 4518923"/>
              <a:gd name="connsiteY4" fmla="*/ 4340664 h 4518923"/>
              <a:gd name="connsiteX5" fmla="*/ 1868892 w 4518923"/>
              <a:gd name="connsiteY5" fmla="*/ 4351365 h 4518923"/>
              <a:gd name="connsiteX6" fmla="*/ 178259 w 4518923"/>
              <a:gd name="connsiteY6" fmla="*/ 2703533 h 4518923"/>
              <a:gd name="connsiteX7" fmla="*/ 167558 w 4518923"/>
              <a:gd name="connsiteY7" fmla="*/ 1868892 h 4518923"/>
              <a:gd name="connsiteX8" fmla="*/ 1815390 w 4518923"/>
              <a:gd name="connsiteY8" fmla="*/ 178259 h 4518923"/>
              <a:gd name="connsiteX9" fmla="*/ 2230495 w 4518923"/>
              <a:gd name="connsiteY9" fmla="*/ 49 h 451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18923" h="4518923">
                <a:moveTo>
                  <a:pt x="2230495" y="49"/>
                </a:moveTo>
                <a:cubicBezTo>
                  <a:pt x="2381535" y="-1887"/>
                  <a:pt x="2533315" y="53796"/>
                  <a:pt x="2650032" y="167558"/>
                </a:cubicBezTo>
                <a:lnTo>
                  <a:pt x="4340664" y="1815390"/>
                </a:lnTo>
                <a:cubicBezTo>
                  <a:pt x="4574099" y="2042915"/>
                  <a:pt x="4578890" y="2416597"/>
                  <a:pt x="4351365" y="2650032"/>
                </a:cubicBezTo>
                <a:lnTo>
                  <a:pt x="2703533" y="4340664"/>
                </a:lnTo>
                <a:cubicBezTo>
                  <a:pt x="2476008" y="4574099"/>
                  <a:pt x="2102326" y="4578890"/>
                  <a:pt x="1868892" y="4351365"/>
                </a:cubicBezTo>
                <a:lnTo>
                  <a:pt x="178259" y="2703533"/>
                </a:lnTo>
                <a:cubicBezTo>
                  <a:pt x="-55175" y="2476008"/>
                  <a:pt x="-59966" y="2102326"/>
                  <a:pt x="167558" y="1868892"/>
                </a:cubicBezTo>
                <a:lnTo>
                  <a:pt x="1815390" y="178259"/>
                </a:lnTo>
                <a:cubicBezTo>
                  <a:pt x="1929153" y="61542"/>
                  <a:pt x="2079455" y="1985"/>
                  <a:pt x="2230495" y="4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32000" tIns="720000" rIns="432000" bIns="720000" rtlCol="0" anchor="t">
            <a:noAutofit/>
          </a:bodyPr>
          <a:lstStyle>
            <a:lvl1pPr marL="0" algn="ctr">
              <a:defRPr lang="en-US" sz="1800" b="1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defRPr>
            </a:lvl1pPr>
            <a:lvl2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2pPr>
            <a:lvl3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3pPr>
            <a:lvl4pPr marL="0" algn="ctr">
              <a:defRPr lang="en-US" sz="1400" smtClean="0">
                <a:solidFill>
                  <a:schemeClr val="accent1"/>
                </a:solidFill>
                <a:latin typeface="+mn-lt"/>
              </a:defRPr>
            </a:lvl4pPr>
            <a:lvl5pPr marL="0" algn="ctr">
              <a:defRPr lang="en-GB" sz="1400">
                <a:solidFill>
                  <a:schemeClr val="accent1"/>
                </a:solidFill>
                <a:latin typeface="+mn-lt"/>
              </a:defRPr>
            </a:lvl5pPr>
          </a:lstStyle>
          <a:p>
            <a:pPr marL="0" lvl="0" indent="0" algn="ctr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endParaRPr lang="ru-RU" dirty="0"/>
          </a:p>
          <a:p>
            <a:pPr marL="0" lvl="0" indent="0" algn="ctr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endParaRPr lang="ru-RU" dirty="0"/>
          </a:p>
          <a:p>
            <a:pPr marL="0" lvl="0" indent="0" algn="ctr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10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Отбивка_голуб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97EF53-7A92-B201-9D1A-BDFE592DA6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6049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83C0C77-346A-653A-B432-94E6E5D4CE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81000"/>
                </a:srgbClr>
              </a:gs>
              <a:gs pos="100000">
                <a:srgbClr val="6194CE">
                  <a:alpha val="68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D4FA406-02F5-27B6-6C8A-AD25B589E5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12" name="Текст 106">
            <a:extLst>
              <a:ext uri="{FF2B5EF4-FFF2-40B4-BE49-F238E27FC236}">
                <a16:creationId xmlns:a16="http://schemas.microsoft.com/office/drawing/2014/main" id="{AD2A712E-3292-631A-B8E3-CDF97A531B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3DA2B6D-6BA8-CB5E-6F53-4D6D04EA2E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96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Отбивка_бирю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176FDA0-2A75-A8F4-24D0-07E2527BC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" t="317" r="21" b="638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EB29149-9F61-5DF3-B6A9-86BF7B83F1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ACD2EF">
                  <a:alpha val="29000"/>
                </a:srgbClr>
              </a:gs>
              <a:gs pos="100000">
                <a:srgbClr val="6194CE">
                  <a:alpha val="6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D4FA406-02F5-27B6-6C8A-AD25B589E5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3542502"/>
            <a:ext cx="5663526" cy="811129"/>
          </a:xfrm>
          <a:prstGeom prst="rect">
            <a:avLst/>
          </a:prstGeom>
        </p:spPr>
        <p:txBody>
          <a:bodyPr lIns="90000" tIns="46800" rIns="90000" bIns="4680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defRPr lang="ru-RU" sz="2400" b="0" i="0" kern="1200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 dirty="0"/>
              <a:t>ЗАГОЛОВОК ОТБИВОЧНОГО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12" name="Текст 106">
            <a:extLst>
              <a:ext uri="{FF2B5EF4-FFF2-40B4-BE49-F238E27FC236}">
                <a16:creationId xmlns:a16="http://schemas.microsoft.com/office/drawing/2014/main" id="{AD2A712E-3292-631A-B8E3-CDF97A531B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59549"/>
            <a:ext cx="4541837" cy="2591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5000">
                <a:solidFill>
                  <a:schemeClr val="bg2"/>
                </a:solidFill>
                <a:latin typeface="Calypso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3DA2B6D-6BA8-CB5E-6F53-4D6D04EA2E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49"/>
          <a:stretch/>
        </p:blipFill>
        <p:spPr>
          <a:xfrm>
            <a:off x="10740823" y="269117"/>
            <a:ext cx="1296599" cy="71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0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theme" Target="../theme/theme1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16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0000" y="144000"/>
            <a:ext cx="10364400" cy="468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8721" y="1918251"/>
            <a:ext cx="11718235" cy="42079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6716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332" y="6356351"/>
            <a:ext cx="35719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4" name="Footer Placeholder 17">
            <a:extLst>
              <a:ext uri="{FF2B5EF4-FFF2-40B4-BE49-F238E27FC236}">
                <a16:creationId xmlns:a16="http://schemas.microsoft.com/office/drawing/2014/main" id="{2A12C5B7-A149-4C11-A62A-C93E5B487F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algn="ctr" defTabSz="609585" rtl="0" eaLnBrk="1" latinLnBrk="0" hangingPunct="1">
              <a:defRPr lang="en-US" sz="10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ru-RU"/>
              <a:t>Источник: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68D4C6E-4633-4FFB-BCD3-72F5D06F31D6}"/>
              </a:ext>
            </a:extLst>
          </p:cNvPr>
          <p:cNvSpPr txBox="1">
            <a:spLocks/>
          </p:cNvSpPr>
          <p:nvPr/>
        </p:nvSpPr>
        <p:spPr>
          <a:xfrm>
            <a:off x="10587276" y="110416"/>
            <a:ext cx="1699200" cy="1058400"/>
          </a:xfrm>
          <a:prstGeom prst="rect">
            <a:avLst/>
          </a:prstGeom>
          <a:blipFill>
            <a:blip r:embed="rId9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800" kern="1200" smtClean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2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82875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US" sz="1100" kern="120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E53A043-3DF8-4EE8-853C-9D8B4F78A3C4}"/>
              </a:ext>
            </a:extLst>
          </p:cNvPr>
          <p:cNvSpPr txBox="1">
            <a:spLocks/>
          </p:cNvSpPr>
          <p:nvPr/>
        </p:nvSpPr>
        <p:spPr>
          <a:xfrm>
            <a:off x="11007437" y="6479182"/>
            <a:ext cx="849600" cy="216000"/>
          </a:xfrm>
          <a:prstGeom prst="rect">
            <a:avLst/>
          </a:prstGeom>
          <a:blipFill dpi="0" rotWithShape="1">
            <a:blip r:embed="rId9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Autofit/>
          </a:bodyPr>
          <a:lstStyle>
            <a:lvl1pPr marL="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18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800" kern="120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2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828755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11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54E9BC-8148-4324-A4C9-4946BD473FC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705600"/>
            <a:ext cx="7508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sity Internal</a:t>
            </a:r>
          </a:p>
        </p:txBody>
      </p:sp>
    </p:spTree>
    <p:extLst>
      <p:ext uri="{BB962C8B-B14F-4D97-AF65-F5344CB8AC3E}">
        <p14:creationId xmlns:p14="http://schemas.microsoft.com/office/powerpoint/2010/main" val="2939048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09585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800" kern="1200">
          <a:solidFill>
            <a:schemeClr val="accent1"/>
          </a:solidFill>
          <a:latin typeface="Calibri" panose="020F0502020204030204" pitchFamily="34" charset="0"/>
          <a:ea typeface="+mn-ea"/>
          <a:cs typeface="+mn-cs"/>
        </a:defRPr>
      </a:lvl1pPr>
      <a:lvl2pPr marL="609585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800" kern="1200">
          <a:solidFill>
            <a:schemeClr val="accent3"/>
          </a:solidFill>
          <a:latin typeface="Calibri" panose="020F0502020204030204" pitchFamily="34" charset="0"/>
          <a:ea typeface="+mn-ea"/>
          <a:cs typeface="+mn-cs"/>
        </a:defRPr>
      </a:lvl2pPr>
      <a:lvl3pPr marL="1219170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200" kern="1200">
          <a:solidFill>
            <a:schemeClr val="accent1"/>
          </a:solidFill>
          <a:latin typeface="Calibri" panose="020F0502020204030204" pitchFamily="34" charset="0"/>
          <a:ea typeface="+mn-ea"/>
          <a:cs typeface="+mn-cs"/>
        </a:defRPr>
      </a:lvl3pPr>
      <a:lvl4pPr marL="1828755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100" kern="1200">
          <a:solidFill>
            <a:schemeClr val="accent1"/>
          </a:solidFill>
          <a:latin typeface="Calibri" panose="020F0502020204030204" pitchFamily="34" charset="0"/>
          <a:ea typeface="+mn-ea"/>
          <a:cs typeface="+mn-cs"/>
        </a:defRPr>
      </a:lvl4pPr>
      <a:lvl5pPr marL="2438339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100" kern="1200">
          <a:solidFill>
            <a:schemeClr val="accent1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9093200" cy="468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592928"/>
            <a:ext cx="11522075" cy="42079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2347" y="615950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4963" y="6159500"/>
            <a:ext cx="35719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4" name="Footer Placeholder 17">
            <a:extLst>
              <a:ext uri="{FF2B5EF4-FFF2-40B4-BE49-F238E27FC236}">
                <a16:creationId xmlns:a16="http://schemas.microsoft.com/office/drawing/2014/main" id="{2A12C5B7-A149-4C11-A62A-C93E5B487F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91231" y="6159500"/>
            <a:ext cx="3860800" cy="3651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algn="ctr" defTabSz="609585" rtl="0" eaLnBrk="1" latinLnBrk="0" hangingPunct="1">
              <a:defRPr lang="en-US" sz="1000" kern="120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ru-RU" dirty="0"/>
              <a:t>Источник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145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09585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8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1pPr>
      <a:lvl2pPr marL="609585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800" kern="1200">
          <a:solidFill>
            <a:schemeClr val="accent3"/>
          </a:solidFill>
          <a:latin typeface="Arial" panose="020B0604020202020204" pitchFamily="34" charset="0"/>
          <a:ea typeface="+mn-ea"/>
          <a:cs typeface="+mn-cs"/>
        </a:defRPr>
      </a:lvl2pPr>
      <a:lvl3pPr marL="1219170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2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3pPr>
      <a:lvl4pPr marL="1828755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1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4pPr>
      <a:lvl5pPr marL="2438339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1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403">
          <p15:clr>
            <a:srgbClr val="F26B43"/>
          </p15:clr>
        </p15:guide>
        <p15:guide id="4" pos="1548">
          <p15:clr>
            <a:srgbClr val="F26B43"/>
          </p15:clr>
        </p15:guide>
        <p15:guide id="5" pos="2694">
          <p15:clr>
            <a:srgbClr val="F26B43"/>
          </p15:clr>
        </p15:guide>
        <p15:guide id="6" pos="3840">
          <p15:clr>
            <a:srgbClr val="F26B43"/>
          </p15:clr>
        </p15:guide>
        <p15:guide id="7" pos="4985">
          <p15:clr>
            <a:srgbClr val="F26B43"/>
          </p15:clr>
        </p15:guide>
        <p15:guide id="8" pos="6131">
          <p15:clr>
            <a:srgbClr val="F26B43"/>
          </p15:clr>
        </p15:guide>
        <p15:guide id="9" pos="7276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orient="horz" pos="403">
          <p15:clr>
            <a:srgbClr val="F26B43"/>
          </p15:clr>
        </p15:guide>
        <p15:guide id="13" orient="horz" pos="988">
          <p15:clr>
            <a:srgbClr val="F26B43"/>
          </p15:clr>
        </p15:guide>
        <p15:guide id="14" orient="horz" pos="1574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6" orient="horz" pos="2745">
          <p15:clr>
            <a:srgbClr val="F26B43"/>
          </p15:clr>
        </p15:guide>
        <p15:guide id="17" orient="horz" pos="3331">
          <p15:clr>
            <a:srgbClr val="F26B43"/>
          </p15:clr>
        </p15:guide>
        <p15:guide id="18" orient="horz" pos="3916">
          <p15:clr>
            <a:srgbClr val="F26B43"/>
          </p15:clr>
        </p15:guide>
        <p15:guide id="19" pos="211">
          <p15:clr>
            <a:srgbClr val="FBAE40"/>
          </p15:clr>
        </p15:guide>
        <p15:guide id="20" orient="horz" pos="210">
          <p15:clr>
            <a:srgbClr val="FBAE40"/>
          </p15:clr>
        </p15:guide>
        <p15:guide id="21" orient="horz" pos="4110">
          <p15:clr>
            <a:srgbClr val="FBAE40"/>
          </p15:clr>
        </p15:guide>
        <p15:guide id="22" pos="7469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9093200" cy="468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592928"/>
            <a:ext cx="11522075" cy="42079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2347" y="615950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4963" y="6159500"/>
            <a:ext cx="35719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D70556C7-D3B6-0B4B-AF5B-16C6BAC5D24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4" name="Footer Placeholder 17">
            <a:extLst>
              <a:ext uri="{FF2B5EF4-FFF2-40B4-BE49-F238E27FC236}">
                <a16:creationId xmlns:a16="http://schemas.microsoft.com/office/drawing/2014/main" id="{2A12C5B7-A149-4C11-A62A-C93E5B487F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91231" y="6159500"/>
            <a:ext cx="3860800" cy="3651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algn="ctr" defTabSz="609585" rtl="0" eaLnBrk="1" latinLnBrk="0" hangingPunct="1">
              <a:defRPr lang="en-US" sz="1000" kern="120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ru-RU" dirty="0"/>
              <a:t>Источник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775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09585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8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1pPr>
      <a:lvl2pPr marL="609585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800" kern="1200">
          <a:solidFill>
            <a:schemeClr val="accent3"/>
          </a:solidFill>
          <a:latin typeface="Arial" panose="020B0604020202020204" pitchFamily="34" charset="0"/>
          <a:ea typeface="+mn-ea"/>
          <a:cs typeface="+mn-cs"/>
        </a:defRPr>
      </a:lvl2pPr>
      <a:lvl3pPr marL="1219170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2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3pPr>
      <a:lvl4pPr marL="1828755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1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4pPr>
      <a:lvl5pPr marL="2438339" indent="0" algn="l" defTabSz="609585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+mj-lt"/>
        <a:buNone/>
        <a:defRPr sz="1100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403">
          <p15:clr>
            <a:srgbClr val="F26B43"/>
          </p15:clr>
        </p15:guide>
        <p15:guide id="4" pos="1548">
          <p15:clr>
            <a:srgbClr val="F26B43"/>
          </p15:clr>
        </p15:guide>
        <p15:guide id="5" pos="2694">
          <p15:clr>
            <a:srgbClr val="F26B43"/>
          </p15:clr>
        </p15:guide>
        <p15:guide id="6" pos="3840">
          <p15:clr>
            <a:srgbClr val="F26B43"/>
          </p15:clr>
        </p15:guide>
        <p15:guide id="7" pos="4985">
          <p15:clr>
            <a:srgbClr val="F26B43"/>
          </p15:clr>
        </p15:guide>
        <p15:guide id="8" pos="6131">
          <p15:clr>
            <a:srgbClr val="F26B43"/>
          </p15:clr>
        </p15:guide>
        <p15:guide id="9" pos="7276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orient="horz" pos="403">
          <p15:clr>
            <a:srgbClr val="F26B43"/>
          </p15:clr>
        </p15:guide>
        <p15:guide id="13" orient="horz" pos="988">
          <p15:clr>
            <a:srgbClr val="F26B43"/>
          </p15:clr>
        </p15:guide>
        <p15:guide id="14" orient="horz" pos="1574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6" orient="horz" pos="2745">
          <p15:clr>
            <a:srgbClr val="F26B43"/>
          </p15:clr>
        </p15:guide>
        <p15:guide id="17" orient="horz" pos="3331">
          <p15:clr>
            <a:srgbClr val="F26B43"/>
          </p15:clr>
        </p15:guide>
        <p15:guide id="18" orient="horz" pos="3916">
          <p15:clr>
            <a:srgbClr val="F26B43"/>
          </p15:clr>
        </p15:guide>
        <p15:guide id="19" pos="211">
          <p15:clr>
            <a:srgbClr val="FBAE40"/>
          </p15:clr>
        </p15:guide>
        <p15:guide id="20" orient="horz" pos="210">
          <p15:clr>
            <a:srgbClr val="FBAE40"/>
          </p15:clr>
        </p15:guide>
        <p15:guide id="21" orient="horz" pos="4110">
          <p15:clr>
            <a:srgbClr val="FBAE40"/>
          </p15:clr>
        </p15:guide>
        <p15:guide id="22" pos="7469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3" Type="http://schemas.openxmlformats.org/officeDocument/2006/relationships/image" Target="../media/image59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73.png"/><Relationship Id="rId5" Type="http://schemas.openxmlformats.org/officeDocument/2006/relationships/image" Target="../media/image75.png"/><Relationship Id="rId4" Type="http://schemas.openxmlformats.org/officeDocument/2006/relationships/image" Target="../media/image7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6.xml"/><Relationship Id="rId5" Type="http://schemas.openxmlformats.org/officeDocument/2006/relationships/image" Target="../media/image73.png"/><Relationship Id="rId4" Type="http://schemas.openxmlformats.org/officeDocument/2006/relationships/image" Target="../media/image7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06.xml"/><Relationship Id="rId4" Type="http://schemas.openxmlformats.org/officeDocument/2006/relationships/image" Target="../media/image7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73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13.xml"/><Relationship Id="rId6" Type="http://schemas.openxmlformats.org/officeDocument/2006/relationships/image" Target="../media/image89.jpeg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6990812_Heart_Love_1920x1080">
            <a:hlinkClick r:id="" action="ppaction://media"/>
            <a:extLst>
              <a:ext uri="{FF2B5EF4-FFF2-40B4-BE49-F238E27FC236}">
                <a16:creationId xmlns:a16="http://schemas.microsoft.com/office/drawing/2014/main" id="{2B188D75-D880-5743-B495-E4BEE64FC2D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11620" t="4302" b="73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AEC4549-982E-AC1A-0BE0-A20EFCF8CC5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CF0079">
                  <a:alpha val="30000"/>
                </a:srgbClr>
              </a:gs>
              <a:gs pos="54700">
                <a:srgbClr val="741569">
                  <a:alpha val="0"/>
                </a:srgbClr>
              </a:gs>
              <a:gs pos="100000">
                <a:srgbClr val="29265B">
                  <a:alpha val="4600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13671FB8-7527-CC53-7B8B-A35065D373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24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себе и своему телу!</a:t>
            </a:r>
            <a:endParaRPr lang="ru-RU" dirty="0"/>
          </a:p>
        </p:txBody>
      </p:sp>
      <p:sp>
        <p:nvSpPr>
          <p:cNvPr id="18" name="Текст 17">
            <a:extLst>
              <a:ext uri="{FF2B5EF4-FFF2-40B4-BE49-F238E27FC236}">
                <a16:creationId xmlns:a16="http://schemas.microsoft.com/office/drawing/2014/main" id="{5D3B4D99-4233-965B-D88D-6501693FEB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z="6000" dirty="0">
                <a:solidFill>
                  <a:schemeClr val="bg1"/>
                </a:solidFill>
                <a:latin typeface="Calypso" pitchFamily="2" charset="0"/>
                <a:cs typeface="Expressive V" panose="03060602030405030205" pitchFamily="66" charset="0"/>
              </a:rPr>
              <a:t>это о любви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14A9E4-09D0-61E2-A83F-D8FEA30DC6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34" y="4649008"/>
            <a:ext cx="1656064" cy="136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93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68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063515-3310-87C1-9493-ADA869395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BF9A9C1-7580-8AE7-2848-BE43D52D35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17" r="15" b="1161"/>
          <a:stretch/>
        </p:blipFill>
        <p:spPr>
          <a:xfrm>
            <a:off x="0" y="-1"/>
            <a:ext cx="11587072" cy="6858001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5F8B290-47F6-4E43-67E0-5B85AC6F5552}"/>
              </a:ext>
            </a:extLst>
          </p:cNvPr>
          <p:cNvSpPr/>
          <p:nvPr/>
        </p:nvSpPr>
        <p:spPr>
          <a:xfrm>
            <a:off x="0" y="0"/>
            <a:ext cx="9564866" cy="6858000"/>
          </a:xfrm>
          <a:prstGeom prst="rect">
            <a:avLst/>
          </a:prstGeom>
          <a:gradFill>
            <a:gsLst>
              <a:gs pos="0">
                <a:srgbClr val="ACD2EF">
                  <a:alpha val="81000"/>
                </a:srgbClr>
              </a:gs>
              <a:gs pos="100000">
                <a:srgbClr val="6194CE">
                  <a:alpha val="68000"/>
                </a:srgb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CC4CB65-1C23-5C5B-549C-591198542D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48" r="24348"/>
          <a:stretch/>
        </p:blipFill>
        <p:spPr>
          <a:xfrm>
            <a:off x="6859242" y="0"/>
            <a:ext cx="5328526" cy="6858000"/>
          </a:xfrm>
          <a:prstGeom prst="rect">
            <a:avLst/>
          </a:prstGeom>
        </p:spPr>
      </p:pic>
      <p:sp>
        <p:nvSpPr>
          <p:cNvPr id="23" name="Title 2">
            <a:extLst>
              <a:ext uri="{FF2B5EF4-FFF2-40B4-BE49-F238E27FC236}">
                <a16:creationId xmlns:a16="http://schemas.microsoft.com/office/drawing/2014/main" id="{75AC9BBC-DC1F-10A0-C280-6F3AE2CD4E07}"/>
              </a:ext>
            </a:extLst>
          </p:cNvPr>
          <p:cNvSpPr txBox="1">
            <a:spLocks/>
          </p:cNvSpPr>
          <p:nvPr/>
        </p:nvSpPr>
        <p:spPr>
          <a:xfrm>
            <a:off x="216517" y="152979"/>
            <a:ext cx="7518257" cy="86652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800" dirty="0">
                <a:solidFill>
                  <a:srgbClr val="001E61"/>
                </a:solidFill>
                <a:latin typeface="Arial (body)"/>
              </a:rPr>
              <a:t>ЛОГОТИП</a:t>
            </a:r>
            <a:endParaRPr kumimoji="0" lang="ru-RU" sz="4800" i="0" u="none" strike="noStrike" kern="1200" cap="none" spc="0" normalizeH="0" baseline="0" noProof="0" dirty="0">
              <a:ln>
                <a:noFill/>
              </a:ln>
              <a:solidFill>
                <a:srgbClr val="001E61"/>
              </a:solidFill>
              <a:effectLst/>
              <a:uLnTx/>
              <a:uFillTx/>
              <a:latin typeface="Arial (body)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B0319F0-203B-4982-8506-8BAE9012A7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36"/>
          <a:stretch/>
        </p:blipFill>
        <p:spPr>
          <a:xfrm rot="947640">
            <a:off x="3330083" y="-705328"/>
            <a:ext cx="6499043" cy="84813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63B8DC-D407-BBF9-784D-BD6F9676BF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807" y="194162"/>
            <a:ext cx="869543" cy="716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E473C8A-B973-43BD-A36E-20CF9F6C1D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23" y="890703"/>
            <a:ext cx="4087469" cy="336758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FF098D-63CE-3B2B-581E-9B0F75F4AF2C}"/>
              </a:ext>
            </a:extLst>
          </p:cNvPr>
          <p:cNvSpPr/>
          <p:nvPr/>
        </p:nvSpPr>
        <p:spPr>
          <a:xfrm>
            <a:off x="388912" y="4711602"/>
            <a:ext cx="5579810" cy="8665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i="0" u="none" strike="noStrike" dirty="0">
                <a:solidFill>
                  <a:schemeClr val="bg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Логотип отражает ценности бренда: </a:t>
            </a:r>
          </a:p>
          <a:p>
            <a:r>
              <a:rPr lang="ru-RU" sz="2000" b="1" i="0" u="none" strike="noStrike" dirty="0">
                <a:solidFill>
                  <a:schemeClr val="bg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Любовь к себе и своему телу</a:t>
            </a:r>
          </a:p>
          <a:p>
            <a:endParaRPr lang="ru-RU" sz="2000" b="1" i="0" u="none" strike="noStrike" dirty="0">
              <a:solidFill>
                <a:schemeClr val="bg2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i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ягкие очертания сердца передают комфорт и умиротворение, а синий цвет вызывает чувство спокойствия и гармонии.</a:t>
            </a:r>
          </a:p>
          <a:p>
            <a:endParaRPr lang="ru-RU" sz="16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i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джентовая</a:t>
            </a:r>
            <a:r>
              <a:rPr lang="ru-RU" sz="1600" i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лента добавляет динамичности, подчеркивая свободу самовыражения. </a:t>
            </a:r>
          </a:p>
        </p:txBody>
      </p:sp>
      <p:pic>
        <p:nvPicPr>
          <p:cNvPr id="2" name="Рисунок 134">
            <a:extLst>
              <a:ext uri="{FF2B5EF4-FFF2-40B4-BE49-F238E27FC236}">
                <a16:creationId xmlns:a16="http://schemas.microsoft.com/office/drawing/2014/main" id="{9224E521-428A-7ED7-8CDC-9E645F902C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588" y="5032846"/>
            <a:ext cx="367859" cy="367859"/>
          </a:xfrm>
          <a:prstGeom prst="rect">
            <a:avLst/>
          </a:prstGeom>
        </p:spPr>
      </p:pic>
      <p:pic>
        <p:nvPicPr>
          <p:cNvPr id="5" name="Рисунок 134">
            <a:extLst>
              <a:ext uri="{FF2B5EF4-FFF2-40B4-BE49-F238E27FC236}">
                <a16:creationId xmlns:a16="http://schemas.microsoft.com/office/drawing/2014/main" id="{D48F98F1-42D1-F318-DA8F-A56C747F77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588" y="5854017"/>
            <a:ext cx="367859" cy="367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3AFC68-BA99-CDF4-5098-ED4D9C9A07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5F8BDB2-0B9C-E5CE-3FA7-CF88A247D5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31"/>
          <a:stretch/>
        </p:blipFill>
        <p:spPr>
          <a:xfrm>
            <a:off x="0" y="-1"/>
            <a:ext cx="12192000" cy="6880161"/>
          </a:xfrm>
          <a:prstGeom prst="rect">
            <a:avLst/>
          </a:prstGeom>
        </p:spPr>
      </p:pic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DE1D0BB4-F574-627D-F612-F16CCDF2B86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CF0079">
                  <a:alpha val="30000"/>
                </a:srgbClr>
              </a:gs>
              <a:gs pos="54700">
                <a:srgbClr val="741569">
                  <a:alpha val="0"/>
                </a:srgbClr>
              </a:gs>
              <a:gs pos="100000">
                <a:srgbClr val="29265B">
                  <a:alpha val="4600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A3DC990A-C1C5-CBC4-E18D-15E37ED2BDB1}"/>
              </a:ext>
            </a:extLst>
          </p:cNvPr>
          <p:cNvSpPr/>
          <p:nvPr/>
        </p:nvSpPr>
        <p:spPr>
          <a:xfrm>
            <a:off x="85832" y="4918220"/>
            <a:ext cx="3079371" cy="695511"/>
          </a:xfrm>
          <a:prstGeom prst="round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583BA35-C357-4323-159C-E4C4BC80D448}"/>
              </a:ext>
            </a:extLst>
          </p:cNvPr>
          <p:cNvSpPr/>
          <p:nvPr/>
        </p:nvSpPr>
        <p:spPr>
          <a:xfrm>
            <a:off x="8829369" y="4142724"/>
            <a:ext cx="3294820" cy="963238"/>
          </a:xfrm>
          <a:prstGeom prst="round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C3E26C3-CD92-430A-E408-EE4D3F35B4B4}"/>
              </a:ext>
            </a:extLst>
          </p:cNvPr>
          <p:cNvSpPr/>
          <p:nvPr/>
        </p:nvSpPr>
        <p:spPr>
          <a:xfrm>
            <a:off x="9006681" y="2415887"/>
            <a:ext cx="3079371" cy="716400"/>
          </a:xfrm>
          <a:prstGeom prst="round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406B1ED-C7C6-BF08-0C66-6972CC1D35AA}"/>
              </a:ext>
            </a:extLst>
          </p:cNvPr>
          <p:cNvSpPr/>
          <p:nvPr/>
        </p:nvSpPr>
        <p:spPr>
          <a:xfrm>
            <a:off x="60705" y="3555933"/>
            <a:ext cx="3079371" cy="828028"/>
          </a:xfrm>
          <a:prstGeom prst="round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AB19771-EDE6-7174-10A0-07A096334D3A}"/>
              </a:ext>
            </a:extLst>
          </p:cNvPr>
          <p:cNvSpPr/>
          <p:nvPr/>
        </p:nvSpPr>
        <p:spPr>
          <a:xfrm>
            <a:off x="42267" y="2368843"/>
            <a:ext cx="3079371" cy="828028"/>
          </a:xfrm>
          <a:prstGeom prst="round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1EE3F62-45D4-2AB1-75FD-3068E623DF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6" r="10666"/>
          <a:stretch/>
        </p:blipFill>
        <p:spPr>
          <a:xfrm>
            <a:off x="4415631" y="2349133"/>
            <a:ext cx="3360738" cy="3291847"/>
          </a:xfrm>
          <a:prstGeom prst="rect">
            <a:avLst/>
          </a:prstGeom>
        </p:spPr>
      </p:pic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900E5573-46B8-2C98-B0B4-F721E93EA069}"/>
              </a:ext>
            </a:extLst>
          </p:cNvPr>
          <p:cNvGrpSpPr/>
          <p:nvPr/>
        </p:nvGrpSpPr>
        <p:grpSpPr>
          <a:xfrm>
            <a:off x="-21109" y="2408056"/>
            <a:ext cx="3789744" cy="663913"/>
            <a:chOff x="399908" y="2305391"/>
            <a:chExt cx="3789744" cy="66391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1814A3E-A6C8-D814-210B-D41846FA985E}"/>
                </a:ext>
              </a:extLst>
            </p:cNvPr>
            <p:cNvSpPr txBox="1"/>
            <p:nvPr/>
          </p:nvSpPr>
          <p:spPr>
            <a:xfrm>
              <a:off x="399908" y="2305391"/>
              <a:ext cx="3225462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l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Лента, обрамляющая лого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FEE7C63-858E-3DC6-AAC6-0DAAFE379FE8}"/>
                </a:ext>
              </a:extLst>
            </p:cNvPr>
            <p:cNvSpPr txBox="1"/>
            <p:nvPr/>
          </p:nvSpPr>
          <p:spPr>
            <a:xfrm>
              <a:off x="425259" y="2507639"/>
              <a:ext cx="376439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зображение ленты выиграло у других аналогичных элементов</a:t>
              </a:r>
            </a:p>
          </p:txBody>
        </p:sp>
      </p:grp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E82BE512-686A-B156-1A46-A7794BA36918}"/>
              </a:ext>
            </a:extLst>
          </p:cNvPr>
          <p:cNvCxnSpPr>
            <a:cxnSpLocks/>
          </p:cNvCxnSpPr>
          <p:nvPr/>
        </p:nvCxnSpPr>
        <p:spPr>
          <a:xfrm flipV="1">
            <a:off x="3121638" y="2649080"/>
            <a:ext cx="2733368" cy="0"/>
          </a:xfrm>
          <a:prstGeom prst="line">
            <a:avLst/>
          </a:prstGeom>
          <a:noFill/>
          <a:ln w="6350" cap="flat" cmpd="sng" algn="ctr">
            <a:solidFill>
              <a:srgbClr val="CF0079"/>
            </a:solidFill>
            <a:prstDash val="solid"/>
            <a:miter lim="800000"/>
          </a:ln>
          <a:effectLst/>
        </p:spPr>
      </p:cxn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1E903DC0-E6EB-6446-CA6D-D7CEEBC0A8A2}"/>
              </a:ext>
            </a:extLst>
          </p:cNvPr>
          <p:cNvGrpSpPr/>
          <p:nvPr/>
        </p:nvGrpSpPr>
        <p:grpSpPr>
          <a:xfrm>
            <a:off x="85830" y="4943477"/>
            <a:ext cx="3116248" cy="661663"/>
            <a:chOff x="282528" y="2612446"/>
            <a:chExt cx="3160966" cy="661663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B6D32AF-6BCF-2D0D-7693-E6C9FFC5F20E}"/>
                </a:ext>
              </a:extLst>
            </p:cNvPr>
            <p:cNvSpPr txBox="1"/>
            <p:nvPr/>
          </p:nvSpPr>
          <p:spPr>
            <a:xfrm>
              <a:off x="282529" y="2612446"/>
              <a:ext cx="3079371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l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ровень </a:t>
              </a:r>
              <a:r>
                <a:rPr kumimoji="0" lang="ru-RU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питываемости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6C5AA4A-888A-7160-2708-0D54D49AAD72}"/>
                </a:ext>
              </a:extLst>
            </p:cNvPr>
            <p:cNvSpPr txBox="1"/>
            <p:nvPr/>
          </p:nvSpPr>
          <p:spPr>
            <a:xfrm>
              <a:off x="282528" y="2812444"/>
              <a:ext cx="31609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90% считают, что дизайн успешно транслирует уровень </a:t>
              </a:r>
              <a:r>
                <a:rPr kumimoji="0" lang="ru-RU" sz="12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питываемости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</p:txBody>
        </p:sp>
      </p:grp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6B9FD14D-F579-EA09-06DE-9F13AFF7FABC}"/>
              </a:ext>
            </a:extLst>
          </p:cNvPr>
          <p:cNvCxnSpPr>
            <a:cxnSpLocks/>
          </p:cNvCxnSpPr>
          <p:nvPr/>
        </p:nvCxnSpPr>
        <p:spPr>
          <a:xfrm>
            <a:off x="3158513" y="5197905"/>
            <a:ext cx="1855152" cy="0"/>
          </a:xfrm>
          <a:prstGeom prst="line">
            <a:avLst/>
          </a:prstGeom>
          <a:noFill/>
          <a:ln w="6350" cap="flat" cmpd="sng" algn="ctr">
            <a:solidFill>
              <a:srgbClr val="CF0079"/>
            </a:solidFill>
            <a:prstDash val="solid"/>
            <a:miter lim="800000"/>
          </a:ln>
          <a:effectLst/>
        </p:spPr>
      </p:cxn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EC935B38-ABB8-DC51-34E0-21B1A0411B98}"/>
              </a:ext>
            </a:extLst>
          </p:cNvPr>
          <p:cNvGrpSpPr/>
          <p:nvPr/>
        </p:nvGrpSpPr>
        <p:grpSpPr>
          <a:xfrm>
            <a:off x="9129122" y="2443224"/>
            <a:ext cx="2956930" cy="667521"/>
            <a:chOff x="-776849" y="1951076"/>
            <a:chExt cx="2956930" cy="667521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9161849-80CF-9867-44E4-42E0ACFBD96F}"/>
                </a:ext>
              </a:extLst>
            </p:cNvPr>
            <p:cNvSpPr txBox="1"/>
            <p:nvPr/>
          </p:nvSpPr>
          <p:spPr>
            <a:xfrm>
              <a:off x="-776849" y="1951076"/>
              <a:ext cx="2956930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r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1" dirty="0">
                  <a:solidFill>
                    <a:srgbClr val="001E61"/>
                  </a:solidFill>
                  <a:latin typeface="Arial" panose="020B0604020202020204" pitchFamily="34" charset="0"/>
                </a:rPr>
                <a:t>Преемственность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9795BCD-B494-5D43-218F-B6EB88A57709}"/>
                </a:ext>
              </a:extLst>
            </p:cNvPr>
            <p:cNvSpPr txBox="1"/>
            <p:nvPr/>
          </p:nvSpPr>
          <p:spPr>
            <a:xfrm>
              <a:off x="-776849" y="2156932"/>
              <a:ext cx="295693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200" dirty="0">
                  <a:solidFill>
                    <a:schemeClr val="bg2"/>
                  </a:solidFill>
                </a:rPr>
                <a:t>Подсвечиваем, что </a:t>
              </a:r>
              <a:r>
                <a:rPr lang="en-US" sz="1200" dirty="0" err="1">
                  <a:solidFill>
                    <a:schemeClr val="bg2"/>
                  </a:solidFill>
                </a:rPr>
                <a:t>Libretta</a:t>
              </a:r>
              <a:r>
                <a:rPr lang="en-US" sz="1200" dirty="0">
                  <a:solidFill>
                    <a:schemeClr val="bg2"/>
                  </a:solidFill>
                </a:rPr>
                <a:t> </a:t>
              </a:r>
              <a:r>
                <a:rPr lang="ru-RU" sz="1200" dirty="0">
                  <a:solidFill>
                    <a:schemeClr val="bg2"/>
                  </a:solidFill>
                </a:rPr>
                <a:t>преемник любимого всеми Либресс</a:t>
              </a:r>
            </a:p>
          </p:txBody>
        </p:sp>
      </p:grp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42CE8769-44AA-7BE3-772C-230D10C66594}"/>
              </a:ext>
            </a:extLst>
          </p:cNvPr>
          <p:cNvCxnSpPr>
            <a:cxnSpLocks/>
          </p:cNvCxnSpPr>
          <p:nvPr/>
        </p:nvCxnSpPr>
        <p:spPr>
          <a:xfrm>
            <a:off x="7198550" y="2578200"/>
            <a:ext cx="1808131" cy="0"/>
          </a:xfrm>
          <a:prstGeom prst="line">
            <a:avLst/>
          </a:prstGeom>
          <a:noFill/>
          <a:ln w="6350" cap="flat" cmpd="sng" algn="ctr">
            <a:solidFill>
              <a:srgbClr val="CF0079"/>
            </a:solidFill>
            <a:prstDash val="solid"/>
            <a:miter lim="800000"/>
          </a:ln>
          <a:effectLst/>
        </p:spPr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219EE6DF-39CA-DA45-E556-E9AA0A9E4615}"/>
              </a:ext>
            </a:extLst>
          </p:cNvPr>
          <p:cNvSpPr txBox="1"/>
          <p:nvPr/>
        </p:nvSpPr>
        <p:spPr>
          <a:xfrm>
            <a:off x="8643258" y="4160055"/>
            <a:ext cx="3488038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3081" lvl="0" indent="0" algn="r" defTabSz="554492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rgbClr val="001E61"/>
                </a:solidFill>
                <a:latin typeface="Arial" panose="020B0604020202020204" pitchFamily="34" charset="0"/>
              </a:rPr>
              <a:t>Клейм, которому доверяют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1E6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DFEEE5DC-4310-DD19-79C6-8ACD014610D7}"/>
              </a:ext>
            </a:extLst>
          </p:cNvPr>
          <p:cNvCxnSpPr>
            <a:cxnSpLocks/>
          </p:cNvCxnSpPr>
          <p:nvPr/>
        </p:nvCxnSpPr>
        <p:spPr>
          <a:xfrm>
            <a:off x="6787090" y="4426725"/>
            <a:ext cx="2042279" cy="0"/>
          </a:xfrm>
          <a:prstGeom prst="line">
            <a:avLst/>
          </a:prstGeom>
          <a:noFill/>
          <a:ln w="6350" cap="flat" cmpd="sng" algn="ctr">
            <a:solidFill>
              <a:srgbClr val="CF0079"/>
            </a:solidFill>
            <a:prstDash val="solid"/>
            <a:miter lim="800000"/>
          </a:ln>
          <a:effectLst/>
        </p:spPr>
      </p:cxn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CACE7EE9-E0B1-BBD2-E62A-D646D10B5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latin typeface="Arial (body)"/>
              </a:rPr>
              <a:t>НОРМАЛ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8E831112-E59F-717C-9A53-FE78794604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7879" y="234042"/>
            <a:ext cx="10260467" cy="463095"/>
          </a:xfrm>
        </p:spPr>
        <p:txBody>
          <a:bodyPr/>
          <a:lstStyle/>
          <a:p>
            <a:r>
              <a:rPr lang="ru-RU" sz="1800" b="1" dirty="0">
                <a:latin typeface="Arial (body)"/>
              </a:rPr>
              <a:t>ультра</a:t>
            </a:r>
          </a:p>
          <a:p>
            <a:endParaRPr lang="ru-RU" b="1" dirty="0">
              <a:latin typeface="Arial (body)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4B8F57-D5C6-A90F-E42F-BC7F4AC67F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807" y="194162"/>
            <a:ext cx="869543" cy="716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1F9E32E-E6ED-3001-9585-A2EFADC94482}"/>
              </a:ext>
            </a:extLst>
          </p:cNvPr>
          <p:cNvSpPr txBox="1"/>
          <p:nvPr/>
        </p:nvSpPr>
        <p:spPr>
          <a:xfrm>
            <a:off x="-1" y="6403427"/>
            <a:ext cx="12025423" cy="584775"/>
          </a:xfrm>
          <a:prstGeom prst="rect">
            <a:avLst/>
          </a:prstGeom>
        </p:spPr>
        <p:txBody>
          <a:bodyPr vert="horz" wrap="square" lIns="144000" tIns="45720" rIns="144000" bIns="45720" numCol="1" spcCol="180000" rtlCol="0" anchor="ctr" anchorCtr="0">
            <a:spAutoFit/>
          </a:bodyPr>
          <a:lstStyle/>
          <a:p>
            <a:pPr algn="l"/>
            <a:r>
              <a:rPr lang="ru-RU" sz="800" dirty="0">
                <a:solidFill>
                  <a:schemeClr val="bg2"/>
                </a:solidFill>
              </a:rPr>
              <a:t>Источник: </a:t>
            </a:r>
          </a:p>
          <a:p>
            <a:pPr algn="l"/>
            <a:r>
              <a:rPr lang="ru-RU" sz="800" dirty="0" err="1">
                <a:solidFill>
                  <a:schemeClr val="bg2"/>
                </a:solidFill>
              </a:rPr>
              <a:t>Ипсос</a:t>
            </a:r>
            <a:r>
              <a:rPr lang="ru-RU" sz="800" dirty="0">
                <a:solidFill>
                  <a:schemeClr val="bg2"/>
                </a:solidFill>
              </a:rPr>
              <a:t>. Тест дизайнов для марки </a:t>
            </a:r>
            <a:r>
              <a:rPr lang="en-US" sz="800" dirty="0">
                <a:solidFill>
                  <a:schemeClr val="bg2"/>
                </a:solidFill>
              </a:rPr>
              <a:t>Lib</a:t>
            </a:r>
            <a:r>
              <a:rPr lang="ru-RU" sz="800" dirty="0" err="1">
                <a:solidFill>
                  <a:schemeClr val="bg2"/>
                </a:solidFill>
              </a:rPr>
              <a:t>retta</a:t>
            </a:r>
            <a:r>
              <a:rPr lang="ru-RU" sz="800" dirty="0">
                <a:solidFill>
                  <a:schemeClr val="bg2"/>
                </a:solidFill>
              </a:rPr>
              <a:t>. Октябрь 2024.</a:t>
            </a:r>
          </a:p>
          <a:p>
            <a:pPr algn="l"/>
            <a:r>
              <a:rPr lang="en-US" sz="800" dirty="0">
                <a:solidFill>
                  <a:schemeClr val="bg2"/>
                </a:solidFill>
              </a:rPr>
              <a:t>Human Nature.</a:t>
            </a:r>
            <a:r>
              <a:rPr lang="ru-RU" sz="800" dirty="0">
                <a:solidFill>
                  <a:schemeClr val="bg2"/>
                </a:solidFill>
              </a:rPr>
              <a:t>Тестирование </a:t>
            </a:r>
            <a:r>
              <a:rPr lang="ru-RU" sz="800" dirty="0" err="1">
                <a:solidFill>
                  <a:schemeClr val="bg2"/>
                </a:solidFill>
              </a:rPr>
              <a:t>клеймов</a:t>
            </a:r>
            <a:r>
              <a:rPr lang="ru-RU" sz="800" dirty="0">
                <a:solidFill>
                  <a:schemeClr val="bg2"/>
                </a:solidFill>
              </a:rPr>
              <a:t> для прокладок Либресс</a:t>
            </a:r>
            <a:r>
              <a:rPr lang="en-US" sz="800" dirty="0">
                <a:solidFill>
                  <a:schemeClr val="bg2"/>
                </a:solidFill>
              </a:rPr>
              <a:t>/</a:t>
            </a:r>
            <a:r>
              <a:rPr lang="en-US" sz="800" dirty="0" err="1">
                <a:solidFill>
                  <a:schemeClr val="bg2"/>
                </a:solidFill>
              </a:rPr>
              <a:t>Libretta</a:t>
            </a:r>
            <a:r>
              <a:rPr lang="ru-RU" sz="800" dirty="0">
                <a:solidFill>
                  <a:schemeClr val="bg2"/>
                </a:solidFill>
              </a:rPr>
              <a:t> Ультра</a:t>
            </a:r>
            <a:r>
              <a:rPr lang="en-US" sz="800" dirty="0">
                <a:solidFill>
                  <a:schemeClr val="bg2"/>
                </a:solidFill>
              </a:rPr>
              <a:t>. </a:t>
            </a:r>
            <a:r>
              <a:rPr lang="ru-RU" sz="800" dirty="0">
                <a:solidFill>
                  <a:schemeClr val="bg2"/>
                </a:solidFill>
              </a:rPr>
              <a:t>Декабрь 2024.</a:t>
            </a:r>
          </a:p>
          <a:p>
            <a:pPr algn="l"/>
            <a:endParaRPr lang="ru-RU" sz="800" dirty="0">
              <a:solidFill>
                <a:schemeClr val="bg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BAB841-EC90-AC85-178B-0B3BC78F96B1}"/>
              </a:ext>
            </a:extLst>
          </p:cNvPr>
          <p:cNvSpPr txBox="1"/>
          <p:nvPr/>
        </p:nvSpPr>
        <p:spPr>
          <a:xfrm>
            <a:off x="9051924" y="4355292"/>
            <a:ext cx="3072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solidFill>
                  <a:schemeClr val="bg2"/>
                </a:solidFill>
              </a:rPr>
              <a:t>93% пользователей из широкой аудитории считают, что клейм соответствует продукту </a:t>
            </a:r>
          </a:p>
        </p:txBody>
      </p:sp>
      <p:grpSp>
        <p:nvGrpSpPr>
          <p:cNvPr id="21" name="Группа 57">
            <a:extLst>
              <a:ext uri="{FF2B5EF4-FFF2-40B4-BE49-F238E27FC236}">
                <a16:creationId xmlns:a16="http://schemas.microsoft.com/office/drawing/2014/main" id="{ECC60AEB-294A-2015-5504-6B4CC2B7C754}"/>
              </a:ext>
            </a:extLst>
          </p:cNvPr>
          <p:cNvGrpSpPr/>
          <p:nvPr/>
        </p:nvGrpSpPr>
        <p:grpSpPr>
          <a:xfrm>
            <a:off x="42268" y="3590700"/>
            <a:ext cx="3174274" cy="817510"/>
            <a:chOff x="207291" y="2601561"/>
            <a:chExt cx="3174274" cy="81751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60650B7-BB43-5DEB-3DAF-994A2775428F}"/>
                </a:ext>
              </a:extLst>
            </p:cNvPr>
            <p:cNvSpPr txBox="1"/>
            <p:nvPr/>
          </p:nvSpPr>
          <p:spPr>
            <a:xfrm>
              <a:off x="225729" y="2601561"/>
              <a:ext cx="3155836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l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Ключевые элементы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BF7EDA4-9D37-B9BC-BD35-F43E6FB2C08A}"/>
                </a:ext>
              </a:extLst>
            </p:cNvPr>
            <p:cNvSpPr txBox="1"/>
            <p:nvPr/>
          </p:nvSpPr>
          <p:spPr>
            <a:xfrm>
              <a:off x="207291" y="2772740"/>
              <a:ext cx="307937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зуал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линейки и кол-во штук нравятся больше, чем на текущем дизайне Либресс</a:t>
              </a:r>
            </a:p>
          </p:txBody>
        </p:sp>
      </p:grpSp>
      <p:cxnSp>
        <p:nvCxnSpPr>
          <p:cNvPr id="24" name="Прямая соединительная линия 61">
            <a:extLst>
              <a:ext uri="{FF2B5EF4-FFF2-40B4-BE49-F238E27FC236}">
                <a16:creationId xmlns:a16="http://schemas.microsoft.com/office/drawing/2014/main" id="{7C630384-FAB6-41E7-7DD8-ACA9859BC185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3140076" y="3969947"/>
            <a:ext cx="1487645" cy="456778"/>
          </a:xfrm>
          <a:prstGeom prst="line">
            <a:avLst/>
          </a:prstGeom>
          <a:noFill/>
          <a:ln w="6350" cap="flat" cmpd="sng" algn="ctr">
            <a:solidFill>
              <a:srgbClr val="CF0079"/>
            </a:solidFill>
            <a:prstDash val="solid"/>
            <a:miter lim="800000"/>
          </a:ln>
          <a:effectLst/>
        </p:spPr>
      </p:cxnSp>
      <p:cxnSp>
        <p:nvCxnSpPr>
          <p:cNvPr id="39" name="Прямая соединительная линия 61">
            <a:extLst>
              <a:ext uri="{FF2B5EF4-FFF2-40B4-BE49-F238E27FC236}">
                <a16:creationId xmlns:a16="http://schemas.microsoft.com/office/drawing/2014/main" id="{D0F3B8AB-2E4A-A141-103F-12B5146EA4B9}"/>
              </a:ext>
            </a:extLst>
          </p:cNvPr>
          <p:cNvCxnSpPr>
            <a:cxnSpLocks/>
          </p:cNvCxnSpPr>
          <p:nvPr/>
        </p:nvCxnSpPr>
        <p:spPr>
          <a:xfrm>
            <a:off x="3140075" y="3969947"/>
            <a:ext cx="1531218" cy="979247"/>
          </a:xfrm>
          <a:prstGeom prst="line">
            <a:avLst/>
          </a:prstGeom>
          <a:noFill/>
          <a:ln w="6350" cap="flat" cmpd="sng" algn="ctr">
            <a:solidFill>
              <a:srgbClr val="CF0079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2671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BD48D2-302F-BACB-56A3-440247235A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F37BC05-EE17-1CB5-A445-0974FD89E5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99" b="4021"/>
          <a:stretch/>
        </p:blipFill>
        <p:spPr>
          <a:xfrm>
            <a:off x="-13628" y="0"/>
            <a:ext cx="12205627" cy="6858000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3DF693E-1064-F076-286F-3F2402C561B1}"/>
              </a:ext>
            </a:extLst>
          </p:cNvPr>
          <p:cNvSpPr/>
          <p:nvPr/>
        </p:nvSpPr>
        <p:spPr>
          <a:xfrm>
            <a:off x="-13628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1E61">
                  <a:alpha val="37000"/>
                </a:srgbClr>
              </a:gs>
              <a:gs pos="54700">
                <a:srgbClr val="741569">
                  <a:alpha val="0"/>
                </a:srgbClr>
              </a:gs>
              <a:gs pos="100000">
                <a:srgbClr val="29265B">
                  <a:alpha val="46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5CD6518-1F76-AB8C-2D25-51D56F0214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" r="32"/>
          <a:stretch/>
        </p:blipFill>
        <p:spPr>
          <a:xfrm>
            <a:off x="3640893" y="1993388"/>
            <a:ext cx="4951741" cy="3480823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267A86-AF3F-3AA2-14D9-FFE561D0A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800" b="1" dirty="0">
                <a:solidFill>
                  <a:schemeClr val="bg1"/>
                </a:solidFill>
                <a:latin typeface="Arial (body)"/>
              </a:rPr>
              <a:t>НОЧНАЯ ЗАЩИТА</a:t>
            </a:r>
            <a:endParaRPr lang="ru-RU" b="1" dirty="0">
              <a:latin typeface="Arial (body)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620317A-D026-160B-17C6-F2CBC67472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b="1" dirty="0">
                <a:solidFill>
                  <a:schemeClr val="bg1"/>
                </a:solidFill>
                <a:latin typeface="Arial (body)"/>
              </a:rPr>
              <a:t>э</a:t>
            </a:r>
            <a:r>
              <a:rPr lang="ru-RU" sz="1800" b="1" dirty="0">
                <a:solidFill>
                  <a:schemeClr val="bg1"/>
                </a:solidFill>
                <a:latin typeface="Arial (body)"/>
              </a:rPr>
              <a:t>кстра </a:t>
            </a:r>
            <a:r>
              <a:rPr lang="ru-RU" b="1" dirty="0">
                <a:solidFill>
                  <a:schemeClr val="bg1"/>
                </a:solidFill>
                <a:latin typeface="Arial (body)"/>
              </a:rPr>
              <a:t>плюс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91AE587F-41A4-0523-CF6C-1E51CCEE8CAC}"/>
              </a:ext>
            </a:extLst>
          </p:cNvPr>
          <p:cNvGrpSpPr/>
          <p:nvPr/>
        </p:nvGrpSpPr>
        <p:grpSpPr>
          <a:xfrm>
            <a:off x="233365" y="2443224"/>
            <a:ext cx="2871019" cy="846958"/>
            <a:chOff x="387257" y="1951076"/>
            <a:chExt cx="2871019" cy="84695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5CEE246-A713-8E35-B6CC-B7412246A465}"/>
                </a:ext>
              </a:extLst>
            </p:cNvPr>
            <p:cNvSpPr txBox="1"/>
            <p:nvPr/>
          </p:nvSpPr>
          <p:spPr>
            <a:xfrm>
              <a:off x="387257" y="1951076"/>
              <a:ext cx="2871019" cy="319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l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Элементы ночи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7A28B3F-0CAB-920B-9C0F-083F214E6937}"/>
                </a:ext>
              </a:extLst>
            </p:cNvPr>
            <p:cNvSpPr txBox="1"/>
            <p:nvPr/>
          </p:nvSpPr>
          <p:spPr>
            <a:xfrm>
              <a:off x="412608" y="2151703"/>
              <a:ext cx="216918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>
                  <a:solidFill>
                    <a:srgbClr val="FFFFFF"/>
                  </a:solidFill>
                  <a:latin typeface="Arial" panose="020B0604020202020204" pitchFamily="34" charset="0"/>
                </a:rPr>
                <a:t>Месяц</a:t>
              </a:r>
              <a:r>
                <a:rPr lang="en-US" sz="1200" kern="0" dirty="0">
                  <a:solidFill>
                    <a:srgbClr val="FFFFFF"/>
                  </a:solidFill>
                  <a:latin typeface="Arial" panose="020B0604020202020204" pitchFamily="34" charset="0"/>
                </a:rPr>
                <a:t> </a:t>
              </a:r>
              <a:r>
                <a:rPr lang="ru-RU" sz="1200" kern="0" dirty="0">
                  <a:solidFill>
                    <a:srgbClr val="FFFFFF"/>
                  </a:solidFill>
                  <a:latin typeface="Arial" panose="020B0604020202020204" pitchFamily="34" charset="0"/>
                </a:rPr>
                <a:t>и звёзды, чтобы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>
                  <a:solidFill>
                    <a:srgbClr val="FFFFFF"/>
                  </a:solidFill>
                  <a:latin typeface="Arial" panose="020B0604020202020204" pitchFamily="34" charset="0"/>
                </a:rPr>
                <a:t>покупатель быстро считал,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>
                  <a:solidFill>
                    <a:srgbClr val="FFFFFF"/>
                  </a:solidFill>
                  <a:latin typeface="Arial" panose="020B0604020202020204" pitchFamily="34" charset="0"/>
                </a:rPr>
                <a:t>что прокладка ночная</a:t>
              </a:r>
            </a:p>
          </p:txBody>
        </p:sp>
      </p:grp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A6194249-976F-4A44-D117-39CCBF0F797C}"/>
              </a:ext>
            </a:extLst>
          </p:cNvPr>
          <p:cNvCxnSpPr>
            <a:cxnSpLocks/>
          </p:cNvCxnSpPr>
          <p:nvPr/>
        </p:nvCxnSpPr>
        <p:spPr>
          <a:xfrm>
            <a:off x="2231489" y="2578200"/>
            <a:ext cx="241592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C76C768-FEA9-BC3C-53D4-1A175A4C5FEA}"/>
              </a:ext>
            </a:extLst>
          </p:cNvPr>
          <p:cNvGrpSpPr/>
          <p:nvPr/>
        </p:nvGrpSpPr>
        <p:grpSpPr>
          <a:xfrm>
            <a:off x="231083" y="3935608"/>
            <a:ext cx="3604978" cy="1090948"/>
            <a:chOff x="378724" y="1604577"/>
            <a:chExt cx="4330673" cy="109094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D26DE36-C52C-3C0F-6A8C-87D92D566BF2}"/>
                </a:ext>
              </a:extLst>
            </p:cNvPr>
            <p:cNvSpPr txBox="1"/>
            <p:nvPr/>
          </p:nvSpPr>
          <p:spPr>
            <a:xfrm>
              <a:off x="378724" y="1604577"/>
              <a:ext cx="3254552" cy="535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l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ысокая </a:t>
              </a:r>
              <a:r>
                <a:rPr kumimoji="0" lang="ru-RU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питываемость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4247987-34E8-C529-DCDE-A9B50BAF5070}"/>
                </a:ext>
              </a:extLst>
            </p:cNvPr>
            <p:cNvSpPr txBox="1"/>
            <p:nvPr/>
          </p:nvSpPr>
          <p:spPr>
            <a:xfrm>
              <a:off x="411920" y="2049194"/>
              <a:ext cx="42974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Тёмный фиолетовый оттенок, чтобы покупатель легко считал</a:t>
              </a:r>
              <a:r>
                <a:rPr lang="ru-RU" sz="1200" kern="0" dirty="0">
                  <a:solidFill>
                    <a:srgbClr val="FFFFFF"/>
                  </a:solidFill>
                  <a:latin typeface="Arial" panose="020B0604020202020204" pitchFamily="34" charset="0"/>
                </a:rPr>
                <a:t> высокую </a:t>
              </a:r>
              <a:r>
                <a:rPr lang="ru-RU" sz="1200" kern="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впитываемость</a:t>
              </a:r>
              <a:r>
                <a:rPr lang="ru-RU" sz="1200" kern="0" dirty="0">
                  <a:solidFill>
                    <a:srgbClr val="FFFFFF"/>
                  </a:solidFill>
                  <a:latin typeface="Arial" panose="020B0604020202020204" pitchFamily="34" charset="0"/>
                </a:rPr>
                <a:t> прокладки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</p:txBody>
        </p:sp>
      </p:grp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D8F678EA-577E-4BB1-AAB0-E3E488444C8E}"/>
              </a:ext>
            </a:extLst>
          </p:cNvPr>
          <p:cNvCxnSpPr>
            <a:cxnSpLocks/>
          </p:cNvCxnSpPr>
          <p:nvPr/>
        </p:nvCxnSpPr>
        <p:spPr>
          <a:xfrm>
            <a:off x="2092751" y="4072076"/>
            <a:ext cx="2969443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6B043F6A-0316-ABBF-1EC6-210BC7EAABF3}"/>
              </a:ext>
            </a:extLst>
          </p:cNvPr>
          <p:cNvSpPr txBox="1"/>
          <p:nvPr/>
        </p:nvSpPr>
        <p:spPr>
          <a:xfrm>
            <a:off x="8789437" y="4284492"/>
            <a:ext cx="338893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3081" lvl="0" indent="0" algn="r" defTabSz="554492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лейм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оторому доверяют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71948C02-1E5C-A9CD-C7B9-013A08E1CA85}"/>
              </a:ext>
            </a:extLst>
          </p:cNvPr>
          <p:cNvCxnSpPr>
            <a:cxnSpLocks/>
            <a:endCxn id="39" idx="1"/>
          </p:cNvCxnSpPr>
          <p:nvPr/>
        </p:nvCxnSpPr>
        <p:spPr>
          <a:xfrm>
            <a:off x="7094853" y="4419468"/>
            <a:ext cx="1694584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160FE24-5E8E-5A88-FA6F-F38D24EB7F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807" y="194162"/>
            <a:ext cx="869543" cy="716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746DC7E-6368-74FC-67F2-B693255B96AC}"/>
              </a:ext>
            </a:extLst>
          </p:cNvPr>
          <p:cNvSpPr txBox="1"/>
          <p:nvPr/>
        </p:nvSpPr>
        <p:spPr>
          <a:xfrm>
            <a:off x="9196933" y="4494018"/>
            <a:ext cx="29950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</a:rPr>
              <a:t>100</a:t>
            </a:r>
            <a:r>
              <a:rPr lang="ru-RU" sz="1200" dirty="0">
                <a:solidFill>
                  <a:schemeClr val="bg1"/>
                </a:solidFill>
              </a:rPr>
              <a:t>% пользователей из широкой аудитории считают, что клейм соответствует продукту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A56F3A3-B62C-DE9C-CE8E-D28AD3D4C47F}"/>
              </a:ext>
            </a:extLst>
          </p:cNvPr>
          <p:cNvSpPr txBox="1"/>
          <p:nvPr/>
        </p:nvSpPr>
        <p:spPr>
          <a:xfrm>
            <a:off x="-1" y="6403427"/>
            <a:ext cx="12025423" cy="584775"/>
          </a:xfrm>
          <a:prstGeom prst="rect">
            <a:avLst/>
          </a:prstGeom>
        </p:spPr>
        <p:txBody>
          <a:bodyPr vert="horz" wrap="square" lIns="144000" tIns="45720" rIns="144000" bIns="45720" numCol="1" spcCol="180000" rtlCol="0" anchor="ctr" anchorCtr="0">
            <a:spAutoFit/>
          </a:bodyPr>
          <a:lstStyle/>
          <a:p>
            <a:pPr algn="l"/>
            <a:r>
              <a:rPr lang="ru-RU" sz="800" dirty="0">
                <a:solidFill>
                  <a:schemeClr val="bg1"/>
                </a:solidFill>
              </a:rPr>
              <a:t>Источник: </a:t>
            </a:r>
          </a:p>
          <a:p>
            <a:pPr algn="l"/>
            <a:r>
              <a:rPr lang="ru-RU" sz="800" dirty="0" err="1">
                <a:solidFill>
                  <a:schemeClr val="bg1"/>
                </a:solidFill>
              </a:rPr>
              <a:t>Ипсос</a:t>
            </a:r>
            <a:r>
              <a:rPr lang="ru-RU" sz="800" dirty="0">
                <a:solidFill>
                  <a:schemeClr val="bg1"/>
                </a:solidFill>
              </a:rPr>
              <a:t>. Тест дизайнов для марки </a:t>
            </a:r>
            <a:r>
              <a:rPr lang="en-US" sz="800" dirty="0">
                <a:solidFill>
                  <a:schemeClr val="bg1"/>
                </a:solidFill>
              </a:rPr>
              <a:t>Lib</a:t>
            </a:r>
            <a:r>
              <a:rPr lang="ru-RU" sz="800" dirty="0" err="1">
                <a:solidFill>
                  <a:schemeClr val="bg1"/>
                </a:solidFill>
              </a:rPr>
              <a:t>retta</a:t>
            </a:r>
            <a:r>
              <a:rPr lang="ru-RU" sz="800" dirty="0">
                <a:solidFill>
                  <a:schemeClr val="bg1"/>
                </a:solidFill>
              </a:rPr>
              <a:t>. Октябрь 2024.</a:t>
            </a:r>
          </a:p>
          <a:p>
            <a:pPr algn="l"/>
            <a:r>
              <a:rPr lang="en-US" sz="800" dirty="0">
                <a:solidFill>
                  <a:schemeClr val="bg1"/>
                </a:solidFill>
              </a:rPr>
              <a:t>Human Nature.</a:t>
            </a:r>
            <a:r>
              <a:rPr lang="ru-RU" sz="800" dirty="0">
                <a:solidFill>
                  <a:schemeClr val="bg1"/>
                </a:solidFill>
              </a:rPr>
              <a:t>Тестирование клейма для ночных прокладок Либресс </a:t>
            </a:r>
            <a:r>
              <a:rPr lang="en-US" sz="800" dirty="0">
                <a:solidFill>
                  <a:schemeClr val="bg1"/>
                </a:solidFill>
              </a:rPr>
              <a:t>/ </a:t>
            </a:r>
            <a:r>
              <a:rPr lang="en-US" sz="800" dirty="0" err="1">
                <a:solidFill>
                  <a:schemeClr val="bg1"/>
                </a:solidFill>
              </a:rPr>
              <a:t>Libretta</a:t>
            </a:r>
            <a:r>
              <a:rPr lang="en-US" sz="800" dirty="0">
                <a:solidFill>
                  <a:schemeClr val="bg1"/>
                </a:solidFill>
              </a:rPr>
              <a:t>.</a:t>
            </a:r>
            <a:r>
              <a:rPr lang="ru-RU" sz="800" dirty="0">
                <a:solidFill>
                  <a:schemeClr val="bg1"/>
                </a:solidFill>
              </a:rPr>
              <a:t> Февраль 202</a:t>
            </a:r>
            <a:r>
              <a:rPr lang="en-US" sz="800" dirty="0">
                <a:solidFill>
                  <a:schemeClr val="bg1"/>
                </a:solidFill>
              </a:rPr>
              <a:t>5</a:t>
            </a:r>
            <a:r>
              <a:rPr lang="ru-RU" sz="800" dirty="0">
                <a:solidFill>
                  <a:schemeClr val="bg1"/>
                </a:solidFill>
              </a:rPr>
              <a:t>.</a:t>
            </a:r>
          </a:p>
          <a:p>
            <a:pPr algn="l"/>
            <a:endParaRPr lang="ru-RU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04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AA02DC-820F-191B-F4C0-7E034087C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1A28C68B-E718-0B0E-B84E-22F6C26CA7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48" b="3178"/>
          <a:stretch/>
        </p:blipFill>
        <p:spPr>
          <a:xfrm>
            <a:off x="14232" y="0"/>
            <a:ext cx="12199874" cy="6858000"/>
          </a:xfrm>
          <a:prstGeom prst="rect">
            <a:avLst/>
          </a:prstGeom>
        </p:spPr>
      </p:pic>
      <p:sp>
        <p:nvSpPr>
          <p:cNvPr id="41" name="Title 2">
            <a:extLst>
              <a:ext uri="{FF2B5EF4-FFF2-40B4-BE49-F238E27FC236}">
                <a16:creationId xmlns:a16="http://schemas.microsoft.com/office/drawing/2014/main" id="{940083A5-8E02-5ECE-DDA5-CFFCB2302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</p:spPr>
        <p:txBody>
          <a:bodyPr anchor="t" anchorCtr="0"/>
          <a:lstStyle/>
          <a:p>
            <a:r>
              <a:rPr lang="ru-RU" sz="4800" b="1" dirty="0">
                <a:solidFill>
                  <a:schemeClr val="bg2"/>
                </a:solidFill>
                <a:latin typeface="Arial (body)"/>
              </a:rPr>
              <a:t>СЕНСИТИВ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FAB01048-12D4-45E5-FBC2-25963C0D94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b="1" dirty="0">
                <a:solidFill>
                  <a:schemeClr val="bg2"/>
                </a:solidFill>
                <a:latin typeface="Arial (body)"/>
              </a:rPr>
              <a:t>п</a:t>
            </a:r>
            <a:r>
              <a:rPr lang="ru-RU" sz="1800" b="1" dirty="0">
                <a:solidFill>
                  <a:schemeClr val="bg2"/>
                </a:solidFill>
                <a:latin typeface="Arial (body)"/>
              </a:rPr>
              <a:t>ремиум линейка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0232E9-D750-C5BC-B3E0-533791C0A6D3}"/>
              </a:ext>
            </a:extLst>
          </p:cNvPr>
          <p:cNvSpPr/>
          <p:nvPr/>
        </p:nvSpPr>
        <p:spPr>
          <a:xfrm>
            <a:off x="3509749" y="1409379"/>
            <a:ext cx="5172501" cy="5172501"/>
          </a:xfrm>
          <a:prstGeom prst="ellipse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27FF50D-3518-73A2-2C6D-3379823FA7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3" t="58823" r="24678" b="18283"/>
          <a:stretch/>
        </p:blipFill>
        <p:spPr>
          <a:xfrm>
            <a:off x="3076553" y="5316990"/>
            <a:ext cx="6038895" cy="157003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C715D3C-E942-7D37-E95C-E320709EA9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" r="18"/>
          <a:stretch/>
        </p:blipFill>
        <p:spPr>
          <a:xfrm>
            <a:off x="3921754" y="2267019"/>
            <a:ext cx="4348041" cy="3927233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4C1A9C1-F62C-992D-4AC1-146D7B9909CD}"/>
              </a:ext>
            </a:extLst>
          </p:cNvPr>
          <p:cNvGrpSpPr/>
          <p:nvPr/>
        </p:nvGrpSpPr>
        <p:grpSpPr>
          <a:xfrm>
            <a:off x="254598" y="2443224"/>
            <a:ext cx="3789523" cy="691788"/>
            <a:chOff x="387257" y="1951076"/>
            <a:chExt cx="3789523" cy="691788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0D7D1FF-3D4C-FDAB-AD9A-ECB6E5C25092}"/>
                </a:ext>
              </a:extLst>
            </p:cNvPr>
            <p:cNvSpPr txBox="1"/>
            <p:nvPr/>
          </p:nvSpPr>
          <p:spPr>
            <a:xfrm>
              <a:off x="387257" y="1951076"/>
              <a:ext cx="3254701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l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1" dirty="0" err="1">
                  <a:solidFill>
                    <a:srgbClr val="001E61"/>
                  </a:solidFill>
                  <a:latin typeface="Arial" panose="020B0604020202020204" pitchFamily="34" charset="0"/>
                </a:rPr>
                <a:t>Премиальность</a:t>
              </a:r>
              <a:r>
                <a:rPr lang="ru-RU" b="1" dirty="0">
                  <a:solidFill>
                    <a:srgbClr val="001E61"/>
                  </a:solidFill>
                  <a:latin typeface="Arial" panose="020B0604020202020204" pitchFamily="34" charset="0"/>
                </a:rPr>
                <a:t> линейки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E49E29B-BCBE-60AF-C50F-EF4E4B900FF7}"/>
                </a:ext>
              </a:extLst>
            </p:cNvPr>
            <p:cNvSpPr txBox="1"/>
            <p:nvPr/>
          </p:nvSpPr>
          <p:spPr>
            <a:xfrm>
              <a:off x="412608" y="2181199"/>
              <a:ext cx="37641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1E6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Элементы серебряного цвета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1E6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ля того, чтобы донести </a:t>
              </a:r>
              <a:r>
                <a:rPr kumimoji="0" lang="ru-RU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1E6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миальность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1E6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продукта</a:t>
              </a:r>
            </a:p>
          </p:txBody>
        </p:sp>
      </p:grp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02D0817F-B2C1-BFF5-11D0-634F5A60156C}"/>
              </a:ext>
            </a:extLst>
          </p:cNvPr>
          <p:cNvCxnSpPr>
            <a:cxnSpLocks/>
          </p:cNvCxnSpPr>
          <p:nvPr/>
        </p:nvCxnSpPr>
        <p:spPr>
          <a:xfrm>
            <a:off x="3303639" y="2637193"/>
            <a:ext cx="1735850" cy="0"/>
          </a:xfrm>
          <a:prstGeom prst="line">
            <a:avLst/>
          </a:prstGeom>
          <a:noFill/>
          <a:ln w="6350" cap="flat" cmpd="sng" algn="ctr">
            <a:solidFill>
              <a:srgbClr val="419F97"/>
            </a:solidFill>
            <a:prstDash val="solid"/>
            <a:miter lim="800000"/>
          </a:ln>
          <a:effectLst/>
        </p:spPr>
      </p:cxn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E881FAA2-2D4B-8A06-0DB3-771724CC10BC}"/>
              </a:ext>
            </a:extLst>
          </p:cNvPr>
          <p:cNvGrpSpPr/>
          <p:nvPr/>
        </p:nvGrpSpPr>
        <p:grpSpPr>
          <a:xfrm>
            <a:off x="241898" y="4282107"/>
            <a:ext cx="3439681" cy="1061120"/>
            <a:chOff x="387257" y="1951076"/>
            <a:chExt cx="3439681" cy="1061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8BCF0EE-232E-A2EC-22CA-69689EA1A1EA}"/>
                </a:ext>
              </a:extLst>
            </p:cNvPr>
            <p:cNvSpPr txBox="1"/>
            <p:nvPr/>
          </p:nvSpPr>
          <p:spPr>
            <a:xfrm>
              <a:off x="387257" y="1951076"/>
              <a:ext cx="3366541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l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1E6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ифференциаци</a:t>
              </a:r>
              <a:r>
                <a:rPr lang="ru-RU" b="1" dirty="0">
                  <a:solidFill>
                    <a:srgbClr val="001E61"/>
                  </a:solidFill>
                  <a:latin typeface="Arial" panose="020B0604020202020204" pitchFamily="34" charset="0"/>
                </a:rPr>
                <a:t>я линейки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DD59B23-A7E9-EBF4-9B40-6F595CE0FCF0}"/>
                </a:ext>
              </a:extLst>
            </p:cNvPr>
            <p:cNvSpPr txBox="1"/>
            <p:nvPr/>
          </p:nvSpPr>
          <p:spPr>
            <a:xfrm>
              <a:off x="412608" y="2181199"/>
              <a:ext cx="341433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200" kern="0" dirty="0">
                  <a:solidFill>
                    <a:srgbClr val="001E61"/>
                  </a:solidFill>
                  <a:latin typeface="Arial" panose="020B0604020202020204" pitchFamily="34" charset="0"/>
                </a:rPr>
                <a:t>Более нежные цвета для дифференциации от линейки Ультра</a:t>
              </a:r>
            </a:p>
            <a:p>
              <a:pPr>
                <a:defRPr/>
              </a:pPr>
              <a:r>
                <a:rPr lang="ru-RU" sz="1200" kern="0" dirty="0">
                  <a:solidFill>
                    <a:srgbClr val="001E61"/>
                  </a:solidFill>
                  <a:latin typeface="Arial" panose="020B0604020202020204" pitchFamily="34" charset="0"/>
                </a:rPr>
                <a:t>Название линейки вписано в лого для привлечения внимания</a:t>
              </a:r>
            </a:p>
          </p:txBody>
        </p:sp>
      </p:grp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D2B0B43E-50E8-7C59-297B-A99DEBC22B31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3608439" y="4417083"/>
            <a:ext cx="1418350" cy="21990"/>
          </a:xfrm>
          <a:prstGeom prst="line">
            <a:avLst/>
          </a:prstGeom>
          <a:noFill/>
          <a:ln w="6350" cap="flat" cmpd="sng" algn="ctr">
            <a:solidFill>
              <a:srgbClr val="419F97"/>
            </a:solidFill>
            <a:prstDash val="solid"/>
            <a:miter lim="800000"/>
          </a:ln>
          <a:effectLst/>
        </p:spPr>
      </p:cxn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B0FA7A0-B5D7-D2A5-6ED2-0085E07346FD}"/>
              </a:ext>
            </a:extLst>
          </p:cNvPr>
          <p:cNvGrpSpPr/>
          <p:nvPr/>
        </p:nvGrpSpPr>
        <p:grpSpPr>
          <a:xfrm>
            <a:off x="8264261" y="4471306"/>
            <a:ext cx="3709670" cy="507122"/>
            <a:chOff x="-1699580" y="2137890"/>
            <a:chExt cx="3709670" cy="507122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4DD76AC-CF0D-CDD9-C781-276315FFFF3F}"/>
                </a:ext>
              </a:extLst>
            </p:cNvPr>
            <p:cNvSpPr txBox="1"/>
            <p:nvPr/>
          </p:nvSpPr>
          <p:spPr>
            <a:xfrm>
              <a:off x="-1282041" y="2137890"/>
              <a:ext cx="3292131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3081" lvl="0" indent="0" algn="r" defTabSz="55449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1E6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Без красителей и отдушек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45C3DD7-AA9E-7385-1EB0-0A49BFF2BEBE}"/>
                </a:ext>
              </a:extLst>
            </p:cNvPr>
            <p:cNvSpPr txBox="1"/>
            <p:nvPr/>
          </p:nvSpPr>
          <p:spPr>
            <a:xfrm>
              <a:off x="-1699580" y="2368013"/>
              <a:ext cx="37096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1E6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зуально выделяем ключевое отличие линейки</a:t>
              </a:r>
            </a:p>
          </p:txBody>
        </p:sp>
      </p:grp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13FC0EDD-0B1D-6F01-65FF-F51F5BA53090}"/>
              </a:ext>
            </a:extLst>
          </p:cNvPr>
          <p:cNvCxnSpPr>
            <a:cxnSpLocks/>
          </p:cNvCxnSpPr>
          <p:nvPr/>
        </p:nvCxnSpPr>
        <p:spPr>
          <a:xfrm>
            <a:off x="6765931" y="4610655"/>
            <a:ext cx="1994611" cy="0"/>
          </a:xfrm>
          <a:prstGeom prst="line">
            <a:avLst/>
          </a:prstGeom>
          <a:noFill/>
          <a:ln w="6350" cap="flat" cmpd="sng" algn="ctr">
            <a:solidFill>
              <a:srgbClr val="419F97"/>
            </a:solidFill>
            <a:prstDash val="solid"/>
            <a:miter lim="800000"/>
          </a:ln>
          <a:effectLst/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FDB0B05-B7F3-C096-CA2A-C8DE2EDF75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807" y="194162"/>
            <a:ext cx="869543" cy="7164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0E1DC8A-A4BD-EB60-7B1A-CD1E2EC61745}"/>
              </a:ext>
            </a:extLst>
          </p:cNvPr>
          <p:cNvSpPr txBox="1"/>
          <p:nvPr/>
        </p:nvSpPr>
        <p:spPr>
          <a:xfrm>
            <a:off x="-1" y="6588092"/>
            <a:ext cx="12025423" cy="215444"/>
          </a:xfrm>
          <a:prstGeom prst="rect">
            <a:avLst/>
          </a:prstGeom>
        </p:spPr>
        <p:txBody>
          <a:bodyPr vert="horz" wrap="square" lIns="144000" tIns="45720" rIns="144000" bIns="45720" numCol="1" spcCol="180000" rtlCol="0" anchor="ctr" anchorCtr="0">
            <a:spAutoFit/>
          </a:bodyPr>
          <a:lstStyle/>
          <a:p>
            <a:pPr algn="l"/>
            <a:r>
              <a:rPr lang="ru-RU" sz="800" dirty="0">
                <a:solidFill>
                  <a:schemeClr val="bg2"/>
                </a:solidFill>
              </a:rPr>
              <a:t>Источник: </a:t>
            </a:r>
            <a:r>
              <a:rPr lang="ru-RU" sz="800" dirty="0" err="1">
                <a:solidFill>
                  <a:schemeClr val="bg2"/>
                </a:solidFill>
              </a:rPr>
              <a:t>Ипсос</a:t>
            </a:r>
            <a:r>
              <a:rPr lang="ru-RU" sz="800" dirty="0">
                <a:solidFill>
                  <a:schemeClr val="bg2"/>
                </a:solidFill>
              </a:rPr>
              <a:t>. Тест дизайнов для марки </a:t>
            </a:r>
            <a:r>
              <a:rPr lang="en-US" sz="800" dirty="0">
                <a:solidFill>
                  <a:schemeClr val="bg2"/>
                </a:solidFill>
              </a:rPr>
              <a:t>Lib</a:t>
            </a:r>
            <a:r>
              <a:rPr lang="ru-RU" sz="800" dirty="0" err="1">
                <a:solidFill>
                  <a:schemeClr val="bg2"/>
                </a:solidFill>
              </a:rPr>
              <a:t>retta</a:t>
            </a:r>
            <a:r>
              <a:rPr lang="ru-RU" sz="800" dirty="0">
                <a:solidFill>
                  <a:schemeClr val="bg2"/>
                </a:solidFill>
              </a:rPr>
              <a:t>. Октябрь 2024.</a:t>
            </a:r>
          </a:p>
        </p:txBody>
      </p:sp>
      <p:cxnSp>
        <p:nvCxnSpPr>
          <p:cNvPr id="14" name="Прямая соединительная линия 12">
            <a:extLst>
              <a:ext uri="{FF2B5EF4-FFF2-40B4-BE49-F238E27FC236}">
                <a16:creationId xmlns:a16="http://schemas.microsoft.com/office/drawing/2014/main" id="{6C78BBAC-7C84-0DF5-623E-0BBCFA069E2E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3608439" y="4093029"/>
            <a:ext cx="1975932" cy="346044"/>
          </a:xfrm>
          <a:prstGeom prst="line">
            <a:avLst/>
          </a:prstGeom>
          <a:noFill/>
          <a:ln w="6350" cap="flat" cmpd="sng" algn="ctr">
            <a:solidFill>
              <a:srgbClr val="419F97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37770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CB9A0A-C57E-9585-DC07-A13DEE6B8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65" y="494618"/>
            <a:ext cx="10260466" cy="782637"/>
          </a:xfrm>
        </p:spPr>
        <p:txBody>
          <a:bodyPr/>
          <a:lstStyle/>
          <a:p>
            <a:r>
              <a:rPr lang="ru-RU" b="1" dirty="0">
                <a:latin typeface="Arial (body)"/>
              </a:rPr>
              <a:t>АССОРТИМЕНТ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AAF70F5-E187-0B66-A368-FFCD91E3DF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3365" y="234042"/>
            <a:ext cx="10260467" cy="463095"/>
          </a:xfrm>
        </p:spPr>
        <p:txBody>
          <a:bodyPr/>
          <a:lstStyle/>
          <a:p>
            <a:r>
              <a:rPr lang="ru-RU" b="1" dirty="0">
                <a:latin typeface="Arial (body)"/>
              </a:rPr>
              <a:t>личная гигиена</a:t>
            </a: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B93A090-04F0-BF21-4D45-A03FE299AC8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2" t="4418" r="3028"/>
          <a:stretch/>
        </p:blipFill>
        <p:spPr>
          <a:xfrm>
            <a:off x="334963" y="2417763"/>
            <a:ext cx="2149475" cy="2154237"/>
          </a:xfr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FE8A6EE6-0AAB-A477-90FC-F04DB9ADD72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73324" y="2417553"/>
            <a:ext cx="2153900" cy="2154447"/>
          </a:xfr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07A5EF08-41AB-AE3E-5E8E-E0F20527811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" t="6697" r="2385"/>
          <a:stretch/>
        </p:blipFill>
        <p:spPr>
          <a:xfrm>
            <a:off x="5016500" y="2417763"/>
            <a:ext cx="2154238" cy="2154237"/>
          </a:xfr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A4C368AB-A1D3-F66C-CB9F-FAE9B826E48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59650" y="2417763"/>
            <a:ext cx="2154238" cy="2154237"/>
          </a:xfr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035F742-460A-056E-359A-0E84723350AF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/>
        </p:blipFill>
        <p:spPr>
          <a:xfrm>
            <a:off x="9702800" y="2417763"/>
            <a:ext cx="2153635" cy="2154237"/>
          </a:xfrm>
        </p:spPr>
      </p:pic>
      <p:sp>
        <p:nvSpPr>
          <p:cNvPr id="25" name="Rectangle 10">
            <a:extLst>
              <a:ext uri="{FF2B5EF4-FFF2-40B4-BE49-F238E27FC236}">
                <a16:creationId xmlns:a16="http://schemas.microsoft.com/office/drawing/2014/main" id="{275E87F2-D336-E0AA-0FFB-9A08625B82A4}"/>
              </a:ext>
            </a:extLst>
          </p:cNvPr>
          <p:cNvSpPr/>
          <p:nvPr/>
        </p:nvSpPr>
        <p:spPr>
          <a:xfrm>
            <a:off x="334963" y="4357688"/>
            <a:ext cx="2152800" cy="1190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9" name="Rectangle 10">
            <a:extLst>
              <a:ext uri="{FF2B5EF4-FFF2-40B4-BE49-F238E27FC236}">
                <a16:creationId xmlns:a16="http://schemas.microsoft.com/office/drawing/2014/main" id="{9ED9B33B-EA8A-000B-B8ED-74F3DE9708CE}"/>
              </a:ext>
            </a:extLst>
          </p:cNvPr>
          <p:cNvSpPr/>
          <p:nvPr/>
        </p:nvSpPr>
        <p:spPr>
          <a:xfrm>
            <a:off x="2678299" y="4357688"/>
            <a:ext cx="2152800" cy="11906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Rectangle 10">
            <a:extLst>
              <a:ext uri="{FF2B5EF4-FFF2-40B4-BE49-F238E27FC236}">
                <a16:creationId xmlns:a16="http://schemas.microsoft.com/office/drawing/2014/main" id="{BBF2FEB0-5100-6AAA-5CEF-9E2C5887F65E}"/>
              </a:ext>
            </a:extLst>
          </p:cNvPr>
          <p:cNvSpPr/>
          <p:nvPr/>
        </p:nvSpPr>
        <p:spPr>
          <a:xfrm>
            <a:off x="5019600" y="4357688"/>
            <a:ext cx="2152800" cy="11906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1" name="Rectangle 10">
            <a:extLst>
              <a:ext uri="{FF2B5EF4-FFF2-40B4-BE49-F238E27FC236}">
                <a16:creationId xmlns:a16="http://schemas.microsoft.com/office/drawing/2014/main" id="{B0766514-1106-EB9D-6B1A-F2BF22EB70EA}"/>
              </a:ext>
            </a:extLst>
          </p:cNvPr>
          <p:cNvSpPr/>
          <p:nvPr/>
        </p:nvSpPr>
        <p:spPr>
          <a:xfrm>
            <a:off x="7359866" y="4357688"/>
            <a:ext cx="2152800" cy="11906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0B7605CA-9C83-B3A1-69CA-892F76A7D549}"/>
              </a:ext>
            </a:extLst>
          </p:cNvPr>
          <p:cNvSpPr/>
          <p:nvPr/>
        </p:nvSpPr>
        <p:spPr>
          <a:xfrm>
            <a:off x="9702678" y="4357688"/>
            <a:ext cx="2152800" cy="1190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4" name="Group 26">
            <a:extLst>
              <a:ext uri="{FF2B5EF4-FFF2-40B4-BE49-F238E27FC236}">
                <a16:creationId xmlns:a16="http://schemas.microsoft.com/office/drawing/2014/main" id="{DF4A2BF2-6262-9DAF-FB5E-62E99DEF956C}"/>
              </a:ext>
            </a:extLst>
          </p:cNvPr>
          <p:cNvGrpSpPr/>
          <p:nvPr/>
        </p:nvGrpSpPr>
        <p:grpSpPr>
          <a:xfrm>
            <a:off x="170821" y="4516488"/>
            <a:ext cx="2502483" cy="712513"/>
            <a:chOff x="1170362" y="4818559"/>
            <a:chExt cx="3083612" cy="71251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6DB95FA-863D-BA00-E3C2-6B7263D56A4C}"/>
                </a:ext>
              </a:extLst>
            </p:cNvPr>
            <p:cNvSpPr txBox="1"/>
            <p:nvPr/>
          </p:nvSpPr>
          <p:spPr>
            <a:xfrm>
              <a:off x="1170362" y="4818559"/>
              <a:ext cx="30836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НОРМАЛ</a:t>
              </a: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FF187C8-63EC-4AB5-C2B7-5E03F4BFBE01}"/>
                </a:ext>
              </a:extLst>
            </p:cNvPr>
            <p:cNvSpPr txBox="1"/>
            <p:nvPr/>
          </p:nvSpPr>
          <p:spPr>
            <a:xfrm>
              <a:off x="1234307" y="5254073"/>
              <a:ext cx="301966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FFFFFF"/>
                  </a:solidFill>
                  <a:latin typeface="Arial"/>
                  <a:ea typeface="Open Sans Light" panose="020B0306030504020204" pitchFamily="34" charset="0"/>
                  <a:cs typeface="Arial" panose="020B0604020202020204" pitchFamily="34" charset="0"/>
                </a:rPr>
                <a:t>До 100% защиты и комфорта</a:t>
              </a:r>
              <a:endPara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26">
            <a:extLst>
              <a:ext uri="{FF2B5EF4-FFF2-40B4-BE49-F238E27FC236}">
                <a16:creationId xmlns:a16="http://schemas.microsoft.com/office/drawing/2014/main" id="{83D5D42C-FD2B-C3E8-2FB3-24CD807288E1}"/>
              </a:ext>
            </a:extLst>
          </p:cNvPr>
          <p:cNvGrpSpPr/>
          <p:nvPr/>
        </p:nvGrpSpPr>
        <p:grpSpPr>
          <a:xfrm>
            <a:off x="2513072" y="4531949"/>
            <a:ext cx="2544952" cy="876950"/>
            <a:chOff x="1118031" y="4818559"/>
            <a:chExt cx="3135943" cy="87695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BAB7C8F-6EAC-3CFB-0FA8-041F3E931B74}"/>
                </a:ext>
              </a:extLst>
            </p:cNvPr>
            <p:cNvSpPr txBox="1"/>
            <p:nvPr/>
          </p:nvSpPr>
          <p:spPr>
            <a:xfrm>
              <a:off x="1170362" y="4818559"/>
              <a:ext cx="30836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НОРМАЛ ДЕО</a:t>
              </a: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740A826-C3C6-58EC-0F2D-E2AE26975280}"/>
                </a:ext>
              </a:extLst>
            </p:cNvPr>
            <p:cNvSpPr txBox="1"/>
            <p:nvPr/>
          </p:nvSpPr>
          <p:spPr>
            <a:xfrm>
              <a:off x="1118031" y="5233844"/>
              <a:ext cx="301966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 Light" panose="020B0306030504020204" pitchFamily="34" charset="0"/>
                  <a:cs typeface="Arial" panose="020B0604020202020204" pitchFamily="34" charset="0"/>
                </a:rPr>
                <a:t>С нежным цветочным ароматом</a:t>
              </a:r>
              <a:endPara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26">
            <a:extLst>
              <a:ext uri="{FF2B5EF4-FFF2-40B4-BE49-F238E27FC236}">
                <a16:creationId xmlns:a16="http://schemas.microsoft.com/office/drawing/2014/main" id="{E0EB9995-04B0-3CCB-A67B-CBC843D4F1A1}"/>
              </a:ext>
            </a:extLst>
          </p:cNvPr>
          <p:cNvGrpSpPr/>
          <p:nvPr/>
        </p:nvGrpSpPr>
        <p:grpSpPr>
          <a:xfrm>
            <a:off x="4837397" y="4519727"/>
            <a:ext cx="2515448" cy="872952"/>
            <a:chOff x="1170362" y="4818559"/>
            <a:chExt cx="3099588" cy="87295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6E8EFA4-CA2D-DCF4-2EAB-E3972DB46D8B}"/>
                </a:ext>
              </a:extLst>
            </p:cNvPr>
            <p:cNvSpPr txBox="1"/>
            <p:nvPr/>
          </p:nvSpPr>
          <p:spPr>
            <a:xfrm>
              <a:off x="1170362" y="4818559"/>
              <a:ext cx="30836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СУПЕР</a:t>
              </a: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4746ED8-59E9-3A1E-2357-9BA55F2BC122}"/>
                </a:ext>
              </a:extLst>
            </p:cNvPr>
            <p:cNvSpPr txBox="1"/>
            <p:nvPr/>
          </p:nvSpPr>
          <p:spPr>
            <a:xfrm>
              <a:off x="1250283" y="5229846"/>
              <a:ext cx="301966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 Light" panose="020B0306030504020204" pitchFamily="34" charset="0"/>
                  <a:cs typeface="Arial" panose="020B0604020202020204" pitchFamily="34" charset="0"/>
                </a:rPr>
                <a:t>Для интенсивных выделений, удлиненные</a:t>
              </a:r>
              <a:endPara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26">
            <a:extLst>
              <a:ext uri="{FF2B5EF4-FFF2-40B4-BE49-F238E27FC236}">
                <a16:creationId xmlns:a16="http://schemas.microsoft.com/office/drawing/2014/main" id="{1151AE02-813F-694D-C43F-295CB068D31A}"/>
              </a:ext>
            </a:extLst>
          </p:cNvPr>
          <p:cNvGrpSpPr/>
          <p:nvPr/>
        </p:nvGrpSpPr>
        <p:grpSpPr>
          <a:xfrm>
            <a:off x="7344600" y="4365913"/>
            <a:ext cx="2328128" cy="1042988"/>
            <a:chOff x="1389842" y="4719925"/>
            <a:chExt cx="2708254" cy="880103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F04E947-4792-3D7B-6B58-EE4A7AE336CA}"/>
                </a:ext>
              </a:extLst>
            </p:cNvPr>
            <p:cNvSpPr txBox="1"/>
            <p:nvPr/>
          </p:nvSpPr>
          <p:spPr>
            <a:xfrm>
              <a:off x="1389842" y="4719925"/>
              <a:ext cx="2708254" cy="5453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НОЧНАЯ ЗАЩИТА</a:t>
              </a: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12A9CC5-9711-917F-4D2B-F93C27A154EA}"/>
                </a:ext>
              </a:extLst>
            </p:cNvPr>
            <p:cNvSpPr txBox="1"/>
            <p:nvPr/>
          </p:nvSpPr>
          <p:spPr>
            <a:xfrm>
              <a:off x="1547631" y="5210462"/>
              <a:ext cx="2335288" cy="3895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 Light" panose="020B0306030504020204" pitchFamily="34" charset="0"/>
                  <a:cs typeface="Arial" panose="020B0604020202020204" pitchFamily="34" charset="0"/>
                </a:rPr>
                <a:t>Для полноценной защиты на всю ночь</a:t>
              </a:r>
              <a:endPara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6">
            <a:extLst>
              <a:ext uri="{FF2B5EF4-FFF2-40B4-BE49-F238E27FC236}">
                <a16:creationId xmlns:a16="http://schemas.microsoft.com/office/drawing/2014/main" id="{E60DC72F-0A8A-91CB-561C-7F1E184F4013}"/>
              </a:ext>
            </a:extLst>
          </p:cNvPr>
          <p:cNvGrpSpPr/>
          <p:nvPr/>
        </p:nvGrpSpPr>
        <p:grpSpPr>
          <a:xfrm>
            <a:off x="9499633" y="4508574"/>
            <a:ext cx="2650801" cy="896333"/>
            <a:chOff x="1079834" y="4818559"/>
            <a:chExt cx="3083612" cy="75635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2055EF6-EBFC-1CD7-FF83-7B055388AA29}"/>
                </a:ext>
              </a:extLst>
            </p:cNvPr>
            <p:cNvSpPr txBox="1"/>
            <p:nvPr/>
          </p:nvSpPr>
          <p:spPr>
            <a:xfrm>
              <a:off x="1079834" y="4818559"/>
              <a:ext cx="3083612" cy="311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СЕНСИТИВ</a:t>
              </a: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C4BDDE2-3461-3D0B-934C-EB6BCB79AB8A}"/>
                </a:ext>
              </a:extLst>
            </p:cNvPr>
            <p:cNvSpPr txBox="1"/>
            <p:nvPr/>
          </p:nvSpPr>
          <p:spPr>
            <a:xfrm>
              <a:off x="1298807" y="5185344"/>
              <a:ext cx="2542794" cy="3895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/>
                  <a:ea typeface="Open Sans Light" panose="020B0306030504020204" pitchFamily="34" charset="0"/>
                  <a:cs typeface="Arial" panose="020B0604020202020204" pitchFamily="34" charset="0"/>
                </a:rPr>
                <a:t>0% красителей и отдушек для чувствительной кожи</a:t>
              </a:r>
              <a:endPara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823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9" grpId="0" animBg="1"/>
      <p:bldP spid="30" grpId="0" animBg="1"/>
      <p:bldP spid="31" grpId="0" animBg="1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sity Libresse Global 2019">
  <a:themeElements>
    <a:clrScheme name="Essity - Saba">
      <a:dk1>
        <a:srgbClr val="000000"/>
      </a:dk1>
      <a:lt1>
        <a:srgbClr val="FFFFFF"/>
      </a:lt1>
      <a:dk2>
        <a:srgbClr val="FFFFFF"/>
      </a:dk2>
      <a:lt2>
        <a:srgbClr val="001E61"/>
      </a:lt2>
      <a:accent1>
        <a:srgbClr val="001E61"/>
      </a:accent1>
      <a:accent2>
        <a:srgbClr val="E31D93"/>
      </a:accent2>
      <a:accent3>
        <a:srgbClr val="ED1C24"/>
      </a:accent3>
      <a:accent4>
        <a:srgbClr val="791A54"/>
      </a:accent4>
      <a:accent5>
        <a:srgbClr val="E63279"/>
      </a:accent5>
      <a:accent6>
        <a:srgbClr val="EA526B"/>
      </a:accent6>
      <a:hlink>
        <a:srgbClr val="0000FF"/>
      </a:hlink>
      <a:folHlink>
        <a:srgbClr val="800080"/>
      </a:folHlink>
    </a:clrScheme>
    <a:fontScheme name="Saba PPT Fon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144000" tIns="45720" rIns="144000" bIns="45720" numCol="1" spcCol="180000" rtlCol="0" anchor="ctr" anchorCtr="0">
        <a:spAutoFit/>
      </a:bodyPr>
      <a:lstStyle>
        <a:defPPr algn="l">
          <a:defRPr dirty="0" err="1"/>
        </a:defPPr>
      </a:lstStyle>
    </a:txDef>
  </a:objectDefaults>
  <a:extraClrSchemeLst/>
  <a:custClrLst>
    <a:custClr name="Custom Color 1">
      <a:srgbClr val="F8D6E6"/>
    </a:custClr>
    <a:custClr name="Custom Color 2">
      <a:srgbClr val="F2A6C7"/>
    </a:custClr>
    <a:custClr name="Custom Color 3">
      <a:srgbClr val="EC7BAE"/>
    </a:custClr>
    <a:custClr name="Custom Color 4">
      <a:srgbClr val="DF539B"/>
    </a:custClr>
    <a:custClr name="Custom Color 5">
      <a:srgbClr val="DB348E"/>
    </a:custClr>
    <a:custClr name="Custom Color 6">
      <a:srgbClr val="942062"/>
    </a:custClr>
    <a:custClr name="Custom Color 7">
      <a:srgbClr val="791A54"/>
    </a:custClr>
    <a:custClr name="Custom Color 8">
      <a:srgbClr val="F7BDCB"/>
    </a:custClr>
    <a:custClr name="Custom Color 9">
      <a:srgbClr val="EF93AC"/>
    </a:custClr>
    <a:custClr name="Custom Color 10">
      <a:srgbClr val="EC7597"/>
    </a:custClr>
    <a:custClr name="Custom Color 11">
      <a:srgbClr val="E95289"/>
    </a:custClr>
    <a:custClr name="Custom Color 12">
      <a:srgbClr val="E63279"/>
    </a:custClr>
    <a:custClr name="Custom Color 13">
      <a:srgbClr val="B6245B"/>
    </a:custClr>
    <a:custClr name="Custom Color 14">
      <a:srgbClr val="841842"/>
    </a:custClr>
    <a:custClr name="Custom Color 15">
      <a:srgbClr val="F5ADB9"/>
    </a:custClr>
    <a:custClr name="Custom Color 16">
      <a:srgbClr val="F2909B"/>
    </a:custClr>
    <a:custClr name="Custom Color 17">
      <a:srgbClr val="ED7380"/>
    </a:custClr>
    <a:custClr name="Custom Color 18">
      <a:srgbClr val="EA526B"/>
    </a:custClr>
    <a:custClr name="Custom Color 19">
      <a:srgbClr val="E82F5E"/>
    </a:custClr>
    <a:custClr name="Custom Color 20">
      <a:srgbClr val="B82247"/>
    </a:custClr>
    <a:custClr name="Custom Color 21">
      <a:srgbClr val="8A1731"/>
    </a:custClr>
    <a:custClr name="Custom Color 22">
      <a:srgbClr val="F6A79E"/>
    </a:custClr>
    <a:custClr name="Custom Color 23">
      <a:srgbClr val="EF8688"/>
    </a:custClr>
    <a:custClr name="Custom Color 24">
      <a:srgbClr val="EC5E63"/>
    </a:custClr>
    <a:custClr name="Custom Color 25">
      <a:srgbClr val="E93650"/>
    </a:custClr>
    <a:custClr name="Custom Color 26">
      <a:srgbClr val="DB2C27"/>
    </a:custClr>
    <a:custClr name="Custom Color 27">
      <a:srgbClr val="9C2C44"/>
    </a:custClr>
    <a:custClr name="Custom Color 28">
      <a:srgbClr val="650E28"/>
    </a:custClr>
  </a:custClrLst>
  <a:extLst>
    <a:ext uri="{05A4C25C-085E-4340-85A3-A5531E510DB2}">
      <thm15:themeFamily xmlns:thm15="http://schemas.microsoft.com/office/thememl/2012/main" name="Essity Libresse Global PowerPoint 2019 v17.potx" id="{E00D037F-1180-4089-8C49-34015B428DCC}" vid="{668EAE8A-133B-4BF1-9D76-4D3441DC07A0}"/>
    </a:ext>
  </a:extLst>
</a:theme>
</file>

<file path=ppt/theme/theme2.xml><?xml version="1.0" encoding="utf-8"?>
<a:theme xmlns:a="http://schemas.openxmlformats.org/drawingml/2006/main" name="Libretta">
  <a:themeElements>
    <a:clrScheme name="Libretta">
      <a:dk1>
        <a:srgbClr val="000000"/>
      </a:dk1>
      <a:lt1>
        <a:srgbClr val="FFFFFF"/>
      </a:lt1>
      <a:dk2>
        <a:srgbClr val="FFFFFF"/>
      </a:dk2>
      <a:lt2>
        <a:srgbClr val="001E61"/>
      </a:lt2>
      <a:accent1>
        <a:srgbClr val="001E61"/>
      </a:accent1>
      <a:accent2>
        <a:srgbClr val="CD0E82"/>
      </a:accent2>
      <a:accent3>
        <a:srgbClr val="E9B7CC"/>
      </a:accent3>
      <a:accent4>
        <a:srgbClr val="7DB3E1"/>
      </a:accent4>
      <a:accent5>
        <a:srgbClr val="419F97"/>
      </a:accent5>
      <a:accent6>
        <a:srgbClr val="871F66"/>
      </a:accent6>
      <a:hlink>
        <a:srgbClr val="0000FF"/>
      </a:hlink>
      <a:folHlink>
        <a:srgbClr val="800080"/>
      </a:folHlink>
    </a:clrScheme>
    <a:fontScheme name="Librett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144000" tIns="45720" rIns="144000" bIns="45720" numCol="1" spcCol="180000" rtlCol="0" anchor="ctr" anchorCtr="0">
        <a:spAutoFit/>
      </a:bodyPr>
      <a:lstStyle>
        <a:defPPr algn="l">
          <a:defRPr dirty="0" err="1"/>
        </a:defPPr>
      </a:lstStyle>
    </a:txDef>
  </a:objectDefaults>
  <a:extraClrSchemeLst/>
  <a:custClrLst>
    <a:custClr name="Custom Color 1">
      <a:srgbClr val="F8D6E6"/>
    </a:custClr>
    <a:custClr name="Custom Color 2">
      <a:srgbClr val="F2A6C7"/>
    </a:custClr>
    <a:custClr name="Custom Color 3">
      <a:srgbClr val="EC7BAE"/>
    </a:custClr>
    <a:custClr name="Custom Color 4">
      <a:srgbClr val="DF539B"/>
    </a:custClr>
    <a:custClr name="Custom Color 5">
      <a:srgbClr val="DB348E"/>
    </a:custClr>
    <a:custClr name="Custom Color 6">
      <a:srgbClr val="942062"/>
    </a:custClr>
    <a:custClr name="Custom Color 7">
      <a:srgbClr val="791A54"/>
    </a:custClr>
    <a:custClr name="Custom Color 8">
      <a:srgbClr val="F7BDCB"/>
    </a:custClr>
    <a:custClr name="Custom Color 9">
      <a:srgbClr val="EF93AC"/>
    </a:custClr>
    <a:custClr name="Custom Color 10">
      <a:srgbClr val="EC7597"/>
    </a:custClr>
    <a:custClr name="Custom Color 11">
      <a:srgbClr val="E95289"/>
    </a:custClr>
    <a:custClr name="Custom Color 12">
      <a:srgbClr val="E63279"/>
    </a:custClr>
    <a:custClr name="Custom Color 13">
      <a:srgbClr val="B6245B"/>
    </a:custClr>
    <a:custClr name="Custom Color 14">
      <a:srgbClr val="841842"/>
    </a:custClr>
    <a:custClr name="Custom Color 15">
      <a:srgbClr val="F5ADB9"/>
    </a:custClr>
    <a:custClr name="Custom Color 16">
      <a:srgbClr val="F2909B"/>
    </a:custClr>
    <a:custClr name="Custom Color 17">
      <a:srgbClr val="ED7380"/>
    </a:custClr>
    <a:custClr name="Custom Color 18">
      <a:srgbClr val="EA526B"/>
    </a:custClr>
    <a:custClr name="Custom Color 19">
      <a:srgbClr val="E82F5E"/>
    </a:custClr>
    <a:custClr name="Custom Color 20">
      <a:srgbClr val="B82247"/>
    </a:custClr>
    <a:custClr name="Custom Color 21">
      <a:srgbClr val="8A1731"/>
    </a:custClr>
    <a:custClr name="Custom Color 22">
      <a:srgbClr val="F6A79E"/>
    </a:custClr>
    <a:custClr name="Custom Color 23">
      <a:srgbClr val="EF8688"/>
    </a:custClr>
    <a:custClr name="Custom Color 24">
      <a:srgbClr val="EC5E63"/>
    </a:custClr>
    <a:custClr name="Custom Color 25">
      <a:srgbClr val="E93650"/>
    </a:custClr>
    <a:custClr name="Custom Color 26">
      <a:srgbClr val="DB2C27"/>
    </a:custClr>
    <a:custClr name="Custom Color 27">
      <a:srgbClr val="9C2C44"/>
    </a:custClr>
    <a:custClr name="Custom Color 28">
      <a:srgbClr val="650E28"/>
    </a:custClr>
  </a:custClrLst>
  <a:extLst>
    <a:ext uri="{05A4C25C-085E-4340-85A3-A5531E510DB2}">
      <thm15:themeFamily xmlns:thm15="http://schemas.microsoft.com/office/thememl/2012/main" name="Essity Libresse Global PowerPoint 2019 v17.potx" id="{E00D037F-1180-4089-8C49-34015B428DCC}" vid="{668EAE8A-133B-4BF1-9D76-4D3441DC07A0}"/>
    </a:ext>
  </a:extLst>
</a:theme>
</file>

<file path=ppt/theme/theme3.xml><?xml version="1.0" encoding="utf-8"?>
<a:theme xmlns:a="http://schemas.openxmlformats.org/drawingml/2006/main" name="1_Libretta">
  <a:themeElements>
    <a:clrScheme name="Libretta">
      <a:dk1>
        <a:srgbClr val="000000"/>
      </a:dk1>
      <a:lt1>
        <a:srgbClr val="FFFFFF"/>
      </a:lt1>
      <a:dk2>
        <a:srgbClr val="FFFFFF"/>
      </a:dk2>
      <a:lt2>
        <a:srgbClr val="001E61"/>
      </a:lt2>
      <a:accent1>
        <a:srgbClr val="001E61"/>
      </a:accent1>
      <a:accent2>
        <a:srgbClr val="CD0E82"/>
      </a:accent2>
      <a:accent3>
        <a:srgbClr val="E9B7CC"/>
      </a:accent3>
      <a:accent4>
        <a:srgbClr val="7DB3E1"/>
      </a:accent4>
      <a:accent5>
        <a:srgbClr val="419F97"/>
      </a:accent5>
      <a:accent6>
        <a:srgbClr val="871F66"/>
      </a:accent6>
      <a:hlink>
        <a:srgbClr val="0000FF"/>
      </a:hlink>
      <a:folHlink>
        <a:srgbClr val="800080"/>
      </a:folHlink>
    </a:clrScheme>
    <a:fontScheme name="Librett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144000" tIns="45720" rIns="144000" bIns="45720" numCol="1" spcCol="180000" rtlCol="0" anchor="ctr" anchorCtr="0">
        <a:spAutoFit/>
      </a:bodyPr>
      <a:lstStyle>
        <a:defPPr algn="l">
          <a:defRPr dirty="0" err="1"/>
        </a:defPPr>
      </a:lstStyle>
    </a:txDef>
  </a:objectDefaults>
  <a:extraClrSchemeLst/>
  <a:custClrLst>
    <a:custClr name="Custom Color 1">
      <a:srgbClr val="F8D6E6"/>
    </a:custClr>
    <a:custClr name="Custom Color 2">
      <a:srgbClr val="F2A6C7"/>
    </a:custClr>
    <a:custClr name="Custom Color 3">
      <a:srgbClr val="EC7BAE"/>
    </a:custClr>
    <a:custClr name="Custom Color 4">
      <a:srgbClr val="DF539B"/>
    </a:custClr>
    <a:custClr name="Custom Color 5">
      <a:srgbClr val="DB348E"/>
    </a:custClr>
    <a:custClr name="Custom Color 6">
      <a:srgbClr val="942062"/>
    </a:custClr>
    <a:custClr name="Custom Color 7">
      <a:srgbClr val="791A54"/>
    </a:custClr>
    <a:custClr name="Custom Color 8">
      <a:srgbClr val="F7BDCB"/>
    </a:custClr>
    <a:custClr name="Custom Color 9">
      <a:srgbClr val="EF93AC"/>
    </a:custClr>
    <a:custClr name="Custom Color 10">
      <a:srgbClr val="EC7597"/>
    </a:custClr>
    <a:custClr name="Custom Color 11">
      <a:srgbClr val="E95289"/>
    </a:custClr>
    <a:custClr name="Custom Color 12">
      <a:srgbClr val="E63279"/>
    </a:custClr>
    <a:custClr name="Custom Color 13">
      <a:srgbClr val="B6245B"/>
    </a:custClr>
    <a:custClr name="Custom Color 14">
      <a:srgbClr val="841842"/>
    </a:custClr>
    <a:custClr name="Custom Color 15">
      <a:srgbClr val="F5ADB9"/>
    </a:custClr>
    <a:custClr name="Custom Color 16">
      <a:srgbClr val="F2909B"/>
    </a:custClr>
    <a:custClr name="Custom Color 17">
      <a:srgbClr val="ED7380"/>
    </a:custClr>
    <a:custClr name="Custom Color 18">
      <a:srgbClr val="EA526B"/>
    </a:custClr>
    <a:custClr name="Custom Color 19">
      <a:srgbClr val="E82F5E"/>
    </a:custClr>
    <a:custClr name="Custom Color 20">
      <a:srgbClr val="B82247"/>
    </a:custClr>
    <a:custClr name="Custom Color 21">
      <a:srgbClr val="8A1731"/>
    </a:custClr>
    <a:custClr name="Custom Color 22">
      <a:srgbClr val="F6A79E"/>
    </a:custClr>
    <a:custClr name="Custom Color 23">
      <a:srgbClr val="EF8688"/>
    </a:custClr>
    <a:custClr name="Custom Color 24">
      <a:srgbClr val="EC5E63"/>
    </a:custClr>
    <a:custClr name="Custom Color 25">
      <a:srgbClr val="E93650"/>
    </a:custClr>
    <a:custClr name="Custom Color 26">
      <a:srgbClr val="DB2C27"/>
    </a:custClr>
    <a:custClr name="Custom Color 27">
      <a:srgbClr val="9C2C44"/>
    </a:custClr>
    <a:custClr name="Custom Color 28">
      <a:srgbClr val="650E28"/>
    </a:custClr>
  </a:custClrLst>
  <a:extLst>
    <a:ext uri="{05A4C25C-085E-4340-85A3-A5531E510DB2}">
      <thm15:themeFamily xmlns:thm15="http://schemas.microsoft.com/office/thememl/2012/main" name="Essity Libresse Global PowerPoint 2019 v17.potx" id="{E00D037F-1180-4089-8C49-34015B428DCC}" vid="{668EAE8A-133B-4BF1-9D76-4D3441DC07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f0f5c58-0fb2-4781-983b-2002eb78ac47">
      <UserInfo>
        <DisplayName>MIRKUSHOVA Elena</DisplayName>
        <AccountId>32</AccountId>
        <AccountType/>
      </UserInfo>
      <UserInfo>
        <DisplayName>EFREMOVA Anna</DisplayName>
        <AccountId>131</AccountId>
        <AccountType/>
      </UserInfo>
      <UserInfo>
        <DisplayName>BRAILYAN Anastasiya</DisplayName>
        <AccountId>130</AccountId>
        <AccountType/>
      </UserInfo>
      <UserInfo>
        <DisplayName>MIRONOVA Anna</DisplayName>
        <AccountId>17</AccountId>
        <AccountType/>
      </UserInfo>
    </SharedWithUsers>
    <_Extended_ExtendedDescription xmlns="http://schemas.microsoft.com/sharepoint/v3" xsi:nil="true"/>
    <HideFromDelve xmlns="dc6ffee2-e55d-4009-a95d-aa81f14b6c75">false</HideFromDelv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FEC18C4A08D6142BAA66D1C6119EC68" ma:contentTypeVersion="14" ma:contentTypeDescription="Создание документа." ma:contentTypeScope="" ma:versionID="8136b879aed3481d42ccedafbc2454a1">
  <xsd:schema xmlns:xsd="http://www.w3.org/2001/XMLSchema" xmlns:xs="http://www.w3.org/2001/XMLSchema" xmlns:p="http://schemas.microsoft.com/office/2006/metadata/properties" xmlns:ns1="http://schemas.microsoft.com/sharepoint/v3" xmlns:ns2="dc6ffee2-e55d-4009-a95d-aa81f14b6c75" xmlns:ns3="af0f5c58-0fb2-4781-983b-2002eb78ac47" xmlns:ns4="b729457e-4a8e-4cd4-8346-b9ee31d103cc" xmlns:ns5="c3aa7111-3988-4157-9d5e-ae561444a700" targetNamespace="http://schemas.microsoft.com/office/2006/metadata/properties" ma:root="true" ma:fieldsID="b805e551b9a0384518eb1f59cb8ece67" ns1:_="" ns2:_="" ns3:_="" ns4:_="" ns5:_="">
    <xsd:import namespace="http://schemas.microsoft.com/sharepoint/v3"/>
    <xsd:import namespace="dc6ffee2-e55d-4009-a95d-aa81f14b6c75"/>
    <xsd:import namespace="af0f5c58-0fb2-4781-983b-2002eb78ac47"/>
    <xsd:import namespace="b729457e-4a8e-4cd4-8346-b9ee31d103cc"/>
    <xsd:import namespace="c3aa7111-3988-4157-9d5e-ae561444a700"/>
    <xsd:element name="properties">
      <xsd:complexType>
        <xsd:sequence>
          <xsd:element name="documentManagement">
            <xsd:complexType>
              <xsd:all>
                <xsd:element ref="ns2:HideFromDelve" minOccurs="0"/>
                <xsd:element ref="ns3:SharedWithUsers" minOccurs="0"/>
                <xsd:element ref="ns1:_Extended_ExtendedDescription" minOccurs="0"/>
                <xsd:element ref="ns4:MediaLengthInSeconds" minOccurs="0"/>
                <xsd:element ref="ns1:TriggerFlowInfo" minOccurs="0"/>
                <xsd:element ref="ns1:__ColorHexHex" minOccurs="0"/>
                <xsd:element ref="ns1:_ColorTag" minOccurs="0"/>
                <xsd:element ref="ns1:__Emoji" minOccurs="0"/>
                <xsd:element ref="ns1:__StubFile" minOccurs="0"/>
                <xsd:element ref="ns1:__HasEncryptedContent" minOccurs="0"/>
                <xsd:element ref="ns1:__HasUserDefinedProtection" minOccurs="0"/>
                <xsd:element ref="ns5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Extended_ExtendedDescription" ma:index="10" nillable="true" ma:displayName="Description" ma:internalName="_ExtendedDescription">
      <xsd:simpleType>
        <xsd:restriction base="dms:Note">
          <xsd:maxLength value="255"/>
        </xsd:restriction>
      </xsd:simpleType>
    </xsd:element>
    <xsd:element name="TriggerFlowInfo" ma:index="12" nillable="true" ma:displayName="Trigger Flow Info" ma:hidden="true" ma:internalName="TriggerFlowInfo" ma:readOnly="true">
      <xsd:simpleType>
        <xsd:restriction base="dms:Text"/>
      </xsd:simpleType>
    </xsd:element>
    <xsd:element name="__ColorHexHex" ma:index="13" nillable="true" ma:displayName="Color" ma:hidden="true" ma:internalName="_ColorHex" ma:readOnly="true">
      <xsd:simpleType>
        <xsd:restriction base="dms:Text"/>
      </xsd:simpleType>
    </xsd:element>
    <xsd:element name="_ColorTag" ma:index="14" nillable="true" ma:displayName="Color Tag" ma:hidden="true" ma:internalName="_ColorTag" ma:readOnly="true">
      <xsd:simpleType>
        <xsd:restriction base="dms:Text"/>
      </xsd:simpleType>
    </xsd:element>
    <xsd:element name="__Emoji" ma:index="15" nillable="true" ma:displayName="Emoji" ma:hidden="true" ma:internalName="_Emoji" ma:readOnly="true">
      <xsd:simpleType>
        <xsd:restriction base="dms:Text"/>
      </xsd:simpleType>
    </xsd:element>
    <xsd:element name="__StubFile" ma:index="17" nillable="true" ma:displayName="StubFile" ma:hidden="true" ma:internalName="_StubFile" ma:readOnly="true">
      <xsd:simpleType>
        <xsd:restriction base="dms:Text"/>
      </xsd:simpleType>
    </xsd:element>
    <xsd:element name="__HasEncryptedContent" ma:index="18" nillable="true" ma:displayName="HasEncryptedContent" ma:hidden="true" ma:internalName="_HasEncryptedContent" ma:readOnly="true">
      <xsd:simpleType>
        <xsd:restriction base="dms:Text"/>
      </xsd:simpleType>
    </xsd:element>
    <xsd:element name="__HasUserDefinedProtection" ma:index="19" nillable="true" ma:displayName="HasUserDefinedProtection" ma:hidden="true" ma:internalName="_HasUserDefinedProtec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6ffee2-e55d-4009-a95d-aa81f14b6c75" elementFormDefault="qualified">
    <xsd:import namespace="http://schemas.microsoft.com/office/2006/documentManagement/types"/>
    <xsd:import namespace="http://schemas.microsoft.com/office/infopath/2007/PartnerControls"/>
    <xsd:element name="HideFromDelve" ma:index="8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0f5c58-0fb2-4781-983b-2002eb78ac47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29457e-4a8e-4cd4-8346-b9ee31d103cc" elementFormDefault="qualified">
    <xsd:import namespace="http://schemas.microsoft.com/office/2006/documentManagement/types"/>
    <xsd:import namespace="http://schemas.microsoft.com/office/infopath/2007/PartnerControls"/>
    <xsd:element name="MediaLengthInSeconds" ma:index="11" nillable="true" ma:displayName="Length (seconds)" ma:description="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aa7111-3988-4157-9d5e-ae561444a700" elementFormDefault="qualified">
    <xsd:import namespace="http://schemas.microsoft.com/office/2006/documentManagement/types"/>
    <xsd:import namespace="http://schemas.microsoft.com/office/infopath/2007/PartnerControls"/>
    <xsd:element name="SharedWithDetails" ma:index="21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B24B7F-3F2E-49B3-9CCA-18681C661966}">
  <ds:schemaRefs>
    <ds:schemaRef ds:uri="http://schemas.microsoft.com/sharepoint/v3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  <ds:schemaRef ds:uri="c3aa7111-3988-4157-9d5e-ae561444a700"/>
    <ds:schemaRef ds:uri="af0f5c58-0fb2-4781-983b-2002eb78ac47"/>
    <ds:schemaRef ds:uri="http://purl.org/dc/terms/"/>
    <ds:schemaRef ds:uri="http://schemas.openxmlformats.org/package/2006/metadata/core-properties"/>
    <ds:schemaRef ds:uri="b729457e-4a8e-4cd4-8346-b9ee31d103cc"/>
    <ds:schemaRef ds:uri="dc6ffee2-e55d-4009-a95d-aa81f14b6c75"/>
  </ds:schemaRefs>
</ds:datastoreItem>
</file>

<file path=customXml/itemProps2.xml><?xml version="1.0" encoding="utf-8"?>
<ds:datastoreItem xmlns:ds="http://schemas.openxmlformats.org/officeDocument/2006/customXml" ds:itemID="{3E562D3D-B086-490F-9D32-ED9D3ECF7A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c6ffee2-e55d-4009-a95d-aa81f14b6c75"/>
    <ds:schemaRef ds:uri="af0f5c58-0fb2-4781-983b-2002eb78ac47"/>
    <ds:schemaRef ds:uri="b729457e-4a8e-4cd4-8346-b9ee31d103cc"/>
    <ds:schemaRef ds:uri="c3aa7111-3988-4157-9d5e-ae561444a7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D3944E2-EBD2-4455-B16F-AA168914A85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468</TotalTime>
  <Words>326</Words>
  <PresentationFormat>Widescreen</PresentationFormat>
  <Paragraphs>67</Paragraphs>
  <Slides>6</Slides>
  <Notes>4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Arial (body)</vt:lpstr>
      <vt:lpstr>Arial Black</vt:lpstr>
      <vt:lpstr>Calibri</vt:lpstr>
      <vt:lpstr>Calypso</vt:lpstr>
      <vt:lpstr>Expressive V</vt:lpstr>
      <vt:lpstr>Wingdings</vt:lpstr>
      <vt:lpstr>Essity Libresse Global 2019</vt:lpstr>
      <vt:lpstr>Libretta</vt:lpstr>
      <vt:lpstr>1_Libretta</vt:lpstr>
      <vt:lpstr>think-cell Slide</vt:lpstr>
      <vt:lpstr>к себе и своему телу!</vt:lpstr>
      <vt:lpstr>PowerPoint Presentation</vt:lpstr>
      <vt:lpstr>НОРМАЛ</vt:lpstr>
      <vt:lpstr>НОЧНАЯ ЗАЩИТА</vt:lpstr>
      <vt:lpstr>СЕНСИТИВ</vt:lpstr>
      <vt:lpstr>АССОРТИМЕНТ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4-08-05T13:07:32Z</dcterms:created>
  <dcterms:modified xsi:type="dcterms:W3CDTF">2025-04-28T09:1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EC18C4A08D6142BAA66D1C6119EC68</vt:lpwstr>
  </property>
</Properties>
</file>